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1"/>
  </p:sldMasterIdLst>
  <p:notesMasterIdLst>
    <p:notesMasterId r:id="rId13"/>
  </p:notesMasterIdLst>
  <p:handoutMasterIdLst>
    <p:handoutMasterId r:id="rId14"/>
  </p:handoutMasterIdLst>
  <p:sldIdLst>
    <p:sldId id="532" r:id="rId2"/>
    <p:sldId id="533" r:id="rId3"/>
    <p:sldId id="534" r:id="rId4"/>
    <p:sldId id="435" r:id="rId5"/>
    <p:sldId id="486" r:id="rId6"/>
    <p:sldId id="535" r:id="rId7"/>
    <p:sldId id="536" r:id="rId8"/>
    <p:sldId id="537" r:id="rId9"/>
    <p:sldId id="487" r:id="rId10"/>
    <p:sldId id="488" r:id="rId11"/>
    <p:sldId id="489" r:id="rId12"/>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see, Joseph" initials="LJ" lastIdx="6"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6699FF"/>
    <a:srgbClr val="B9B9B9"/>
    <a:srgbClr val="00668A"/>
    <a:srgbClr val="3F3F3F"/>
    <a:srgbClr val="0070C0"/>
    <a:srgbClr val="FFFFFF"/>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951" autoAdjust="0"/>
    <p:restoredTop sz="80249" autoAdjust="0"/>
  </p:normalViewPr>
  <p:slideViewPr>
    <p:cSldViewPr>
      <p:cViewPr varScale="1">
        <p:scale>
          <a:sx n="72" d="100"/>
          <a:sy n="72" d="100"/>
        </p:scale>
        <p:origin x="336" y="58"/>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19454"/>
    </p:cViewPr>
  </p:sorterViewPr>
  <p:notesViewPr>
    <p:cSldViewPr>
      <p:cViewPr varScale="1">
        <p:scale>
          <a:sx n="66" d="100"/>
          <a:sy n="66" d="100"/>
        </p:scale>
        <p:origin x="3043"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smtClean="0"/>
            <a:t>In this Chapter</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98F67694-0BAD-4EA6-9C61-873CF2826E85}">
      <dgm:prSet/>
      <dgm:spPr/>
      <dgm:t>
        <a:bodyPr/>
        <a:lstStyle/>
        <a:p>
          <a:pPr rtl="0"/>
          <a:r>
            <a:rPr lang="en-CA" dirty="0" smtClean="0"/>
            <a:t>All about Client Explorer</a:t>
          </a:r>
          <a:endParaRPr lang="en-CA" dirty="0"/>
        </a:p>
      </dgm:t>
    </dgm:pt>
    <dgm:pt modelId="{DD0C60F8-EA9F-4910-99A6-33A1D1C67178}" type="parTrans" cxnId="{CEE62FF6-3383-4B80-872B-7C9EC927D3B6}">
      <dgm:prSet/>
      <dgm:spPr/>
      <dgm:t>
        <a:bodyPr/>
        <a:lstStyle/>
        <a:p>
          <a:endParaRPr lang="en-US"/>
        </a:p>
      </dgm:t>
    </dgm:pt>
    <dgm:pt modelId="{CC885E32-725D-43A9-88B3-EDBE2AAE1F86}" type="sibTrans" cxnId="{CEE62FF6-3383-4B80-872B-7C9EC927D3B6}">
      <dgm:prSet/>
      <dgm:spPr/>
      <dgm:t>
        <a:bodyPr/>
        <a:lstStyle/>
        <a:p>
          <a:endParaRPr lang="en-US"/>
        </a:p>
      </dgm:t>
    </dgm:pt>
    <dgm:pt modelId="{12182436-8CD8-4832-9F71-D0917FDEB3D0}">
      <dgm:prSet/>
      <dgm:spPr/>
      <dgm:t>
        <a:bodyPr/>
        <a:lstStyle/>
        <a:p>
          <a:pPr rtl="0"/>
          <a:r>
            <a:rPr lang="en-CA" dirty="0" smtClean="0"/>
            <a:t>The Basics</a:t>
          </a:r>
          <a:endParaRPr lang="en-CA" dirty="0"/>
        </a:p>
      </dgm:t>
    </dgm:pt>
    <dgm:pt modelId="{FDB9703C-7C6E-4478-85ED-D31B2D5311B5}" type="parTrans" cxnId="{225F66C4-A991-43E0-9B9C-B602424F88D4}">
      <dgm:prSet/>
      <dgm:spPr/>
      <dgm:t>
        <a:bodyPr/>
        <a:lstStyle/>
        <a:p>
          <a:endParaRPr lang="en-US"/>
        </a:p>
      </dgm:t>
    </dgm:pt>
    <dgm:pt modelId="{FEC0E547-E09B-4D36-8A38-AC2DA0604A08}" type="sibTrans" cxnId="{225F66C4-A991-43E0-9B9C-B602424F88D4}">
      <dgm:prSet/>
      <dgm:spPr/>
      <dgm:t>
        <a:bodyPr/>
        <a:lstStyle/>
        <a:p>
          <a:endParaRPr lang="en-US"/>
        </a:p>
      </dgm:t>
    </dgm:pt>
    <dgm:pt modelId="{70D6520E-2D83-7642-8813-A0947D86170A}">
      <dgm:prSet/>
      <dgm:spPr/>
      <dgm:t>
        <a:bodyPr/>
        <a:lstStyle/>
        <a:p>
          <a:pPr rtl="0"/>
          <a:r>
            <a:rPr lang="en-CA" dirty="0" smtClean="0"/>
            <a:t>Advanced tools</a:t>
          </a:r>
          <a:endParaRPr lang="en-CA" dirty="0"/>
        </a:p>
      </dgm:t>
    </dgm:pt>
    <dgm:pt modelId="{F9578D9A-9E8B-CC42-B5F6-BA0B770F8FA0}" type="parTrans" cxnId="{25E8D224-A22C-CB4D-BD24-6961FCEFB3A0}">
      <dgm:prSet/>
      <dgm:spPr/>
      <dgm:t>
        <a:bodyPr/>
        <a:lstStyle/>
        <a:p>
          <a:endParaRPr lang="en-CA"/>
        </a:p>
      </dgm:t>
    </dgm:pt>
    <dgm:pt modelId="{1AC033CC-ACEF-1A4F-868F-B5ACB3BC2819}" type="sibTrans" cxnId="{25E8D224-A22C-CB4D-BD24-6961FCEFB3A0}">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1" custScaleX="214487">
        <dgm:presLayoutVars>
          <dgm:chMax val="1"/>
          <dgm:bulletEnabled val="1"/>
        </dgm:presLayoutVars>
      </dgm:prSet>
      <dgm:spPr/>
      <dgm:t>
        <a:bodyPr/>
        <a:lstStyle/>
        <a:p>
          <a:endParaRPr lang="en-CA"/>
        </a:p>
      </dgm:t>
    </dgm:pt>
    <dgm:pt modelId="{96B25C73-5C82-454A-AF23-58BAC3E61242}" type="pres">
      <dgm:prSet presAssocID="{CF0461F7-EC97-BB41-A574-9C1E3009EACC}" presName="descendantText" presStyleLbl="alignAccFollowNode1" presStyleIdx="0" presStyleCnt="1">
        <dgm:presLayoutVars>
          <dgm:bulletEnabled val="1"/>
        </dgm:presLayoutVars>
      </dgm:prSet>
      <dgm:spPr/>
      <dgm:t>
        <a:bodyPr/>
        <a:lstStyle/>
        <a:p>
          <a:endParaRPr lang="en-CA"/>
        </a:p>
      </dgm:t>
    </dgm:pt>
  </dgm:ptLst>
  <dgm:cxnLst>
    <dgm:cxn modelId="{41B8F1B6-425C-7040-9450-1B864D828345}" type="presOf" srcId="{CF0461F7-EC97-BB41-A574-9C1E3009EACC}" destId="{43DEFE45-1517-3942-920E-48C520E9C0B4}" srcOrd="0" destOrd="0" presId="urn:microsoft.com/office/officeart/2005/8/layout/vList5"/>
    <dgm:cxn modelId="{90CF27D1-9436-CA49-BEF5-E1ECB6C64A16}" type="presOf" srcId="{12182436-8CD8-4832-9F71-D0917FDEB3D0}" destId="{96B25C73-5C82-454A-AF23-58BAC3E61242}" srcOrd="0" destOrd="1" presId="urn:microsoft.com/office/officeart/2005/8/layout/vList5"/>
    <dgm:cxn modelId="{EC8A03D1-5A39-7D45-A241-EAC9C645D1A9}" type="presOf" srcId="{98F67694-0BAD-4EA6-9C61-873CF2826E85}" destId="{96B25C73-5C82-454A-AF23-58BAC3E61242}" srcOrd="0" destOrd="0" presId="urn:microsoft.com/office/officeart/2005/8/layout/vList5"/>
    <dgm:cxn modelId="{225F66C4-A991-43E0-9B9C-B602424F88D4}" srcId="{CF0461F7-EC97-BB41-A574-9C1E3009EACC}" destId="{12182436-8CD8-4832-9F71-D0917FDEB3D0}" srcOrd="1" destOrd="0" parTransId="{FDB9703C-7C6E-4478-85ED-D31B2D5311B5}" sibTransId="{FEC0E547-E09B-4D36-8A38-AC2DA0604A08}"/>
    <dgm:cxn modelId="{674D6C8A-30E6-564D-9142-120BB4D947A9}" srcId="{02BA0D8E-884F-D545-BFF7-95207C181DAB}" destId="{CF0461F7-EC97-BB41-A574-9C1E3009EACC}" srcOrd="0" destOrd="0" parTransId="{B2C709E6-0566-4D4E-97EA-2EBE699D701F}" sibTransId="{ABC1C475-5434-1B41-BC48-ADC728C8CBF7}"/>
    <dgm:cxn modelId="{25E8D224-A22C-CB4D-BD24-6961FCEFB3A0}" srcId="{CF0461F7-EC97-BB41-A574-9C1E3009EACC}" destId="{70D6520E-2D83-7642-8813-A0947D86170A}" srcOrd="2" destOrd="0" parTransId="{F9578D9A-9E8B-CC42-B5F6-BA0B770F8FA0}" sibTransId="{1AC033CC-ACEF-1A4F-868F-B5ACB3BC2819}"/>
    <dgm:cxn modelId="{CEE62FF6-3383-4B80-872B-7C9EC927D3B6}" srcId="{CF0461F7-EC97-BB41-A574-9C1E3009EACC}" destId="{98F67694-0BAD-4EA6-9C61-873CF2826E85}" srcOrd="0" destOrd="0" parTransId="{DD0C60F8-EA9F-4910-99A6-33A1D1C67178}" sibTransId="{CC885E32-725D-43A9-88B3-EDBE2AAE1F86}"/>
    <dgm:cxn modelId="{EA26DFAF-B91B-7846-9D36-C9B3D215BA11}" type="presOf" srcId="{70D6520E-2D83-7642-8813-A0947D86170A}" destId="{96B25C73-5C82-454A-AF23-58BAC3E61242}" srcOrd="0" destOrd="2" presId="urn:microsoft.com/office/officeart/2005/8/layout/vList5"/>
    <dgm:cxn modelId="{830457EA-4830-6849-B056-5DAFA7AC888A}" type="presOf" srcId="{02BA0D8E-884F-D545-BFF7-95207C181DAB}" destId="{5325FF06-BE85-6742-9495-B8F42BFC9B7F}" srcOrd="0" destOrd="0" presId="urn:microsoft.com/office/officeart/2005/8/layout/vList5"/>
    <dgm:cxn modelId="{46A73CC5-0EF0-6340-A556-B24ADCB32365}" type="presParOf" srcId="{5325FF06-BE85-6742-9495-B8F42BFC9B7F}" destId="{29217676-BC9A-6F40-9378-16D87FA052B5}" srcOrd="0" destOrd="0" presId="urn:microsoft.com/office/officeart/2005/8/layout/vList5"/>
    <dgm:cxn modelId="{B8669F64-ECB9-7D4E-995B-7019B7F00E65}" type="presParOf" srcId="{29217676-BC9A-6F40-9378-16D87FA052B5}" destId="{43DEFE45-1517-3942-920E-48C520E9C0B4}" srcOrd="0" destOrd="0" presId="urn:microsoft.com/office/officeart/2005/8/layout/vList5"/>
    <dgm:cxn modelId="{32A867F6-4053-5945-A3E6-75F18724319B}" type="presParOf" srcId="{29217676-BC9A-6F40-9378-16D87FA052B5}" destId="{96B25C73-5C82-454A-AF23-58BAC3E6124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D7781CBE-F52C-491E-B4B4-8942BAAEB811}">
      <dgm:prSet/>
      <dgm:spPr/>
      <dgm:t>
        <a:bodyPr/>
        <a:lstStyle/>
        <a:p>
          <a:pPr rtl="0"/>
          <a:r>
            <a:rPr lang="en-CA"/>
            <a:t>search</a:t>
          </a:r>
          <a:endParaRPr lang="en-CA" dirty="0"/>
        </a:p>
      </dgm:t>
    </dgm:pt>
    <dgm:pt modelId="{61C1F9A0-621C-4E82-8C25-DC5D81A3FA0A}" type="parTrans" cxnId="{A12C5528-4E40-421F-B373-66FA8BD4331F}">
      <dgm:prSet/>
      <dgm:spPr/>
      <dgm:t>
        <a:bodyPr/>
        <a:lstStyle/>
        <a:p>
          <a:endParaRPr lang="en-US"/>
        </a:p>
      </dgm:t>
    </dgm:pt>
    <dgm:pt modelId="{17543E45-2A42-422A-87F5-2A315B691443}" type="sibTrans" cxnId="{A12C5528-4E40-421F-B373-66FA8BD4331F}">
      <dgm:prSet/>
      <dgm:spPr/>
      <dgm:t>
        <a:bodyPr/>
        <a:lstStyle/>
        <a:p>
          <a:endParaRPr lang="en-US"/>
        </a:p>
      </dgm:t>
    </dgm:pt>
    <dgm:pt modelId="{FDC714E1-5E24-47CB-93F3-C7C92D96DF0E}">
      <dgm:prSet/>
      <dgm:spPr/>
      <dgm:t>
        <a:bodyPr/>
        <a:lstStyle/>
        <a:p>
          <a:pPr rtl="0"/>
          <a:r>
            <a:rPr lang="en-CA" dirty="0" smtClean="0"/>
            <a:t>find files</a:t>
          </a:r>
          <a:endParaRPr lang="en-CA" dirty="0"/>
        </a:p>
      </dgm:t>
    </dgm:pt>
    <dgm:pt modelId="{045045EE-A849-4C18-9B11-A004EA7D8DE8}" type="parTrans" cxnId="{F228A92E-ED10-42A5-B149-9DEE4FE90E93}">
      <dgm:prSet/>
      <dgm:spPr/>
      <dgm:t>
        <a:bodyPr/>
        <a:lstStyle/>
        <a:p>
          <a:endParaRPr lang="en-US"/>
        </a:p>
      </dgm:t>
    </dgm:pt>
    <dgm:pt modelId="{0E15844F-2806-41E3-B09D-1B86EE708157}" type="sibTrans" cxnId="{F228A92E-ED10-42A5-B149-9DEE4FE90E93}">
      <dgm:prSet/>
      <dgm:spPr/>
      <dgm:t>
        <a:bodyPr/>
        <a:lstStyle/>
        <a:p>
          <a:endParaRPr lang="en-US"/>
        </a:p>
      </dgm:t>
    </dgm:pt>
    <dgm:pt modelId="{07786C96-359A-41F1-9438-63F50448DFF3}">
      <dgm:prSet/>
      <dgm:spPr/>
      <dgm:t>
        <a:bodyPr/>
        <a:lstStyle/>
        <a:p>
          <a:pPr rtl="0"/>
          <a:r>
            <a:rPr lang="en-CA" dirty="0"/>
            <a:t>right-click</a:t>
          </a:r>
        </a:p>
      </dgm:t>
    </dgm:pt>
    <dgm:pt modelId="{7434BC43-298D-41A0-892A-A21991B2F329}" type="parTrans" cxnId="{74B86701-ACF1-44ED-97ED-6C098E7A07C8}">
      <dgm:prSet/>
      <dgm:spPr/>
      <dgm:t>
        <a:bodyPr/>
        <a:lstStyle/>
        <a:p>
          <a:endParaRPr lang="en-US"/>
        </a:p>
      </dgm:t>
    </dgm:pt>
    <dgm:pt modelId="{C84B13A1-A9CA-403E-9BC8-32872CD0EAE5}" type="sibTrans" cxnId="{74B86701-ACF1-44ED-97ED-6C098E7A07C8}">
      <dgm:prSet/>
      <dgm:spPr/>
      <dgm:t>
        <a:bodyPr/>
        <a:lstStyle/>
        <a:p>
          <a:endParaRPr lang="en-US"/>
        </a:p>
      </dgm:t>
    </dgm:pt>
    <dgm:pt modelId="{264C391C-A597-4263-AB28-7FF2596F8A33}">
      <dgm:prSet/>
      <dgm:spPr/>
      <dgm:t>
        <a:bodyPr/>
        <a:lstStyle/>
        <a:p>
          <a:pPr rtl="0"/>
          <a:r>
            <a:rPr lang="en-CA" dirty="0" smtClean="0"/>
            <a:t>more menus</a:t>
          </a:r>
          <a:endParaRPr lang="en-CA" dirty="0"/>
        </a:p>
      </dgm:t>
    </dgm:pt>
    <dgm:pt modelId="{3714B444-A291-4219-A739-B3B3CC505807}" type="parTrans" cxnId="{B0C0ED83-4EF1-42E8-B933-90DA326B3D99}">
      <dgm:prSet/>
      <dgm:spPr/>
      <dgm:t>
        <a:bodyPr/>
        <a:lstStyle/>
        <a:p>
          <a:endParaRPr lang="en-US"/>
        </a:p>
      </dgm:t>
    </dgm:pt>
    <dgm:pt modelId="{6AA770B2-D85E-417C-8C91-8104A248C85C}" type="sibTrans" cxnId="{B0C0ED83-4EF1-42E8-B933-90DA326B3D99}">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4003A2F0-DC65-4340-9345-37069EDA68C3}" type="pres">
      <dgm:prSet presAssocID="{D7781CBE-F52C-491E-B4B4-8942BAAEB811}" presName="linNode" presStyleCnt="0"/>
      <dgm:spPr/>
    </dgm:pt>
    <dgm:pt modelId="{8D66BF5E-B926-4C4A-8D4E-AABB29BE7CEF}" type="pres">
      <dgm:prSet presAssocID="{D7781CBE-F52C-491E-B4B4-8942BAAEB811}" presName="parentText" presStyleLbl="node1" presStyleIdx="0" presStyleCnt="2">
        <dgm:presLayoutVars>
          <dgm:chMax val="1"/>
          <dgm:bulletEnabled val="1"/>
        </dgm:presLayoutVars>
      </dgm:prSet>
      <dgm:spPr/>
      <dgm:t>
        <a:bodyPr/>
        <a:lstStyle/>
        <a:p>
          <a:endParaRPr lang="en-CA"/>
        </a:p>
      </dgm:t>
    </dgm:pt>
    <dgm:pt modelId="{FA98C3C4-2129-4E0D-BAAD-A374A69E54E8}" type="pres">
      <dgm:prSet presAssocID="{D7781CBE-F52C-491E-B4B4-8942BAAEB811}" presName="descendantText" presStyleLbl="alignAccFollowNode1" presStyleIdx="0" presStyleCnt="2">
        <dgm:presLayoutVars>
          <dgm:bulletEnabled val="1"/>
        </dgm:presLayoutVars>
      </dgm:prSet>
      <dgm:spPr/>
      <dgm:t>
        <a:bodyPr/>
        <a:lstStyle/>
        <a:p>
          <a:endParaRPr lang="en-CA"/>
        </a:p>
      </dgm:t>
    </dgm:pt>
    <dgm:pt modelId="{633B57CA-3C39-4AF3-9E73-E7791C4DAC6B}" type="pres">
      <dgm:prSet presAssocID="{17543E45-2A42-422A-87F5-2A315B691443}" presName="sp" presStyleCnt="0"/>
      <dgm:spPr/>
    </dgm:pt>
    <dgm:pt modelId="{D85F689E-86E6-4C54-B8AE-0D68AFB6B9EB}" type="pres">
      <dgm:prSet presAssocID="{07786C96-359A-41F1-9438-63F50448DFF3}" presName="linNode" presStyleCnt="0"/>
      <dgm:spPr/>
    </dgm:pt>
    <dgm:pt modelId="{45CAAED1-62CB-4ACB-A7AB-F0638EB0DEF1}" type="pres">
      <dgm:prSet presAssocID="{07786C96-359A-41F1-9438-63F50448DFF3}" presName="parentText" presStyleLbl="node1" presStyleIdx="1" presStyleCnt="2">
        <dgm:presLayoutVars>
          <dgm:chMax val="1"/>
          <dgm:bulletEnabled val="1"/>
        </dgm:presLayoutVars>
      </dgm:prSet>
      <dgm:spPr/>
      <dgm:t>
        <a:bodyPr/>
        <a:lstStyle/>
        <a:p>
          <a:endParaRPr lang="en-CA"/>
        </a:p>
      </dgm:t>
    </dgm:pt>
    <dgm:pt modelId="{D8A07D5A-0002-4C5E-904C-382490F3B738}" type="pres">
      <dgm:prSet presAssocID="{07786C96-359A-41F1-9438-63F50448DFF3}" presName="descendantText" presStyleLbl="alignAccFollowNode1" presStyleIdx="1" presStyleCnt="2" custLinFactNeighborY="0">
        <dgm:presLayoutVars>
          <dgm:bulletEnabled val="1"/>
        </dgm:presLayoutVars>
      </dgm:prSet>
      <dgm:spPr/>
      <dgm:t>
        <a:bodyPr/>
        <a:lstStyle/>
        <a:p>
          <a:endParaRPr lang="en-CA"/>
        </a:p>
      </dgm:t>
    </dgm:pt>
  </dgm:ptLst>
  <dgm:cxnLst>
    <dgm:cxn modelId="{FD5CD8E0-3CEE-A64A-866E-CD52FFC837CB}" type="presOf" srcId="{02BA0D8E-884F-D545-BFF7-95207C181DAB}" destId="{5325FF06-BE85-6742-9495-B8F42BFC9B7F}" srcOrd="0" destOrd="0" presId="urn:microsoft.com/office/officeart/2005/8/layout/vList5"/>
    <dgm:cxn modelId="{92694129-D48F-6344-BC30-B4E7CA733383}" type="presOf" srcId="{264C391C-A597-4263-AB28-7FF2596F8A33}" destId="{D8A07D5A-0002-4C5E-904C-382490F3B738}" srcOrd="0" destOrd="0" presId="urn:microsoft.com/office/officeart/2005/8/layout/vList5"/>
    <dgm:cxn modelId="{E0582DC7-72E8-C74C-9960-977FD3223CC8}" type="presOf" srcId="{07786C96-359A-41F1-9438-63F50448DFF3}" destId="{45CAAED1-62CB-4ACB-A7AB-F0638EB0DEF1}" srcOrd="0" destOrd="0" presId="urn:microsoft.com/office/officeart/2005/8/layout/vList5"/>
    <dgm:cxn modelId="{76BCC89F-A8FB-D44B-B738-54669442ECDE}" type="presOf" srcId="{D7781CBE-F52C-491E-B4B4-8942BAAEB811}" destId="{8D66BF5E-B926-4C4A-8D4E-AABB29BE7CEF}" srcOrd="0" destOrd="0" presId="urn:microsoft.com/office/officeart/2005/8/layout/vList5"/>
    <dgm:cxn modelId="{B0C0ED83-4EF1-42E8-B933-90DA326B3D99}" srcId="{07786C96-359A-41F1-9438-63F50448DFF3}" destId="{264C391C-A597-4263-AB28-7FF2596F8A33}" srcOrd="0" destOrd="0" parTransId="{3714B444-A291-4219-A739-B3B3CC505807}" sibTransId="{6AA770B2-D85E-417C-8C91-8104A248C85C}"/>
    <dgm:cxn modelId="{A12C5528-4E40-421F-B373-66FA8BD4331F}" srcId="{02BA0D8E-884F-D545-BFF7-95207C181DAB}" destId="{D7781CBE-F52C-491E-B4B4-8942BAAEB811}" srcOrd="0" destOrd="0" parTransId="{61C1F9A0-621C-4E82-8C25-DC5D81A3FA0A}" sibTransId="{17543E45-2A42-422A-87F5-2A315B691443}"/>
    <dgm:cxn modelId="{F228A92E-ED10-42A5-B149-9DEE4FE90E93}" srcId="{D7781CBE-F52C-491E-B4B4-8942BAAEB811}" destId="{FDC714E1-5E24-47CB-93F3-C7C92D96DF0E}" srcOrd="0" destOrd="0" parTransId="{045045EE-A849-4C18-9B11-A004EA7D8DE8}" sibTransId="{0E15844F-2806-41E3-B09D-1B86EE708157}"/>
    <dgm:cxn modelId="{74B86701-ACF1-44ED-97ED-6C098E7A07C8}" srcId="{02BA0D8E-884F-D545-BFF7-95207C181DAB}" destId="{07786C96-359A-41F1-9438-63F50448DFF3}" srcOrd="1" destOrd="0" parTransId="{7434BC43-298D-41A0-892A-A21991B2F329}" sibTransId="{C84B13A1-A9CA-403E-9BC8-32872CD0EAE5}"/>
    <dgm:cxn modelId="{38A9B722-83E7-CD4A-BCFB-4BC695422394}" type="presOf" srcId="{FDC714E1-5E24-47CB-93F3-C7C92D96DF0E}" destId="{FA98C3C4-2129-4E0D-BAAD-A374A69E54E8}" srcOrd="0" destOrd="0" presId="urn:microsoft.com/office/officeart/2005/8/layout/vList5"/>
    <dgm:cxn modelId="{7821357A-C870-9842-B5B8-AE24721995A6}" type="presParOf" srcId="{5325FF06-BE85-6742-9495-B8F42BFC9B7F}" destId="{4003A2F0-DC65-4340-9345-37069EDA68C3}" srcOrd="0" destOrd="0" presId="urn:microsoft.com/office/officeart/2005/8/layout/vList5"/>
    <dgm:cxn modelId="{70CDBB2F-9858-8748-9504-CC1FC4FB0863}" type="presParOf" srcId="{4003A2F0-DC65-4340-9345-37069EDA68C3}" destId="{8D66BF5E-B926-4C4A-8D4E-AABB29BE7CEF}" srcOrd="0" destOrd="0" presId="urn:microsoft.com/office/officeart/2005/8/layout/vList5"/>
    <dgm:cxn modelId="{9FDDED52-0460-AD45-BADE-3D64A02B4949}" type="presParOf" srcId="{4003A2F0-DC65-4340-9345-37069EDA68C3}" destId="{FA98C3C4-2129-4E0D-BAAD-A374A69E54E8}" srcOrd="1" destOrd="0" presId="urn:microsoft.com/office/officeart/2005/8/layout/vList5"/>
    <dgm:cxn modelId="{B3EC31F9-B631-EE4A-A2AD-5FDA7C5E76B1}" type="presParOf" srcId="{5325FF06-BE85-6742-9495-B8F42BFC9B7F}" destId="{633B57CA-3C39-4AF3-9E73-E7791C4DAC6B}" srcOrd="1" destOrd="0" presId="urn:microsoft.com/office/officeart/2005/8/layout/vList5"/>
    <dgm:cxn modelId="{9399D2F4-6764-BB49-B711-ECF42953EBA8}" type="presParOf" srcId="{5325FF06-BE85-6742-9495-B8F42BFC9B7F}" destId="{D85F689E-86E6-4C54-B8AE-0D68AFB6B9EB}" srcOrd="2" destOrd="0" presId="urn:microsoft.com/office/officeart/2005/8/layout/vList5"/>
    <dgm:cxn modelId="{0921B4C3-2189-5641-8148-F2D4570683A0}" type="presParOf" srcId="{D85F689E-86E6-4C54-B8AE-0D68AFB6B9EB}" destId="{45CAAED1-62CB-4ACB-A7AB-F0638EB0DEF1}" srcOrd="0" destOrd="0" presId="urn:microsoft.com/office/officeart/2005/8/layout/vList5"/>
    <dgm:cxn modelId="{FFFAFCA4-7149-5243-8F53-56259D4ECB73}" type="presParOf" srcId="{D85F689E-86E6-4C54-B8AE-0D68AFB6B9EB}" destId="{D8A07D5A-0002-4C5E-904C-382490F3B73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smtClean="0">
              <a:solidFill>
                <a:schemeClr val="bg1"/>
              </a:solidFill>
            </a:rPr>
            <a:t>Page</a:t>
          </a:r>
        </a:p>
        <a:p>
          <a:r>
            <a:rPr lang="en-US" b="1" dirty="0" smtClean="0">
              <a:solidFill>
                <a:schemeClr val="bg1"/>
              </a:solidFill>
            </a:rPr>
            <a:t>12-13</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AA666E05-0DEE-D545-821A-306EC5F38CD6}" type="presOf" srcId="{C2945230-8A03-49C4-AE11-508590DB7B8B}" destId="{DDF5C611-4A57-4D32-BF4D-AD972F42154B}"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595A5DB1-A668-5042-AD8A-096BC147C736}" type="presOf" srcId="{44F371D9-EE28-43D3-A86D-541CB7E51DB8}" destId="{834CDD0F-2A72-40E4-9F5C-254C6DC50A0F}" srcOrd="0" destOrd="0" presId="urn:microsoft.com/office/officeart/2005/8/layout/venn1"/>
    <dgm:cxn modelId="{BA7B699A-0B18-3F4C-B0D6-21FCA88646E5}"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EFIL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6306B4F0-0BF6-414D-BBDB-4B362D062134}">
      <dgm:prSet/>
      <dgm:spPr/>
      <dgm:t>
        <a:bodyPr/>
        <a:lstStyle/>
        <a:p>
          <a:pPr rtl="0"/>
          <a:r>
            <a:rPr lang="en-CA" dirty="0"/>
            <a:t>Exporting</a:t>
          </a:r>
        </a:p>
      </dgm:t>
    </dgm:pt>
    <dgm:pt modelId="{63095D2F-B22F-CE4B-A169-B400C8581FF5}" type="parTrans" cxnId="{04D667D6-88F2-9C43-89F5-E31C711C0AE1}">
      <dgm:prSet/>
      <dgm:spPr/>
      <dgm:t>
        <a:bodyPr/>
        <a:lstStyle/>
        <a:p>
          <a:endParaRPr lang="en-CA"/>
        </a:p>
      </dgm:t>
    </dgm:pt>
    <dgm:pt modelId="{F9D809FD-42E8-3C46-AA5B-C0252A438BDB}" type="sibTrans" cxnId="{04D667D6-88F2-9C43-89F5-E31C711C0AE1}">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2">
        <dgm:presLayoutVars>
          <dgm:chMax val="1"/>
          <dgm:bulletEnabled val="1"/>
        </dgm:presLayoutVars>
      </dgm:prSet>
      <dgm:spPr/>
      <dgm:t>
        <a:bodyPr/>
        <a:lstStyle/>
        <a:p>
          <a:endParaRPr lang="en-CA"/>
        </a:p>
      </dgm:t>
    </dgm:pt>
    <dgm:pt modelId="{FF47BD01-2861-BB4B-B9F0-6E54E6904159}" type="pres">
      <dgm:prSet presAssocID="{ABC1C475-5434-1B41-BC48-ADC728C8CBF7}" presName="sp" presStyleCnt="0"/>
      <dgm:spPr/>
    </dgm:pt>
    <dgm:pt modelId="{AD2DDD9C-ED27-9C41-987A-29D120BF8411}" type="pres">
      <dgm:prSet presAssocID="{6306B4F0-0BF6-414D-BBDB-4B362D062134}" presName="linNode" presStyleCnt="0"/>
      <dgm:spPr/>
    </dgm:pt>
    <dgm:pt modelId="{460FFA17-0469-9041-A24E-7544AD33BDF9}" type="pres">
      <dgm:prSet presAssocID="{6306B4F0-0BF6-414D-BBDB-4B362D062134}" presName="parentText" presStyleLbl="node1" presStyleIdx="1" presStyleCnt="2">
        <dgm:presLayoutVars>
          <dgm:chMax val="1"/>
          <dgm:bulletEnabled val="1"/>
        </dgm:presLayoutVars>
      </dgm:prSet>
      <dgm:spPr/>
      <dgm:t>
        <a:bodyPr/>
        <a:lstStyle/>
        <a:p>
          <a:endParaRPr lang="en-CA"/>
        </a:p>
      </dgm:t>
    </dgm:pt>
  </dgm:ptLst>
  <dgm:cxnLst>
    <dgm:cxn modelId="{54C60EDC-AB31-8B4B-B829-6CB70CCA26A8}" type="presOf" srcId="{6306B4F0-0BF6-414D-BBDB-4B362D062134}" destId="{460FFA17-0469-9041-A24E-7544AD33BDF9}"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04D667D6-88F2-9C43-89F5-E31C711C0AE1}" srcId="{02BA0D8E-884F-D545-BFF7-95207C181DAB}" destId="{6306B4F0-0BF6-414D-BBDB-4B362D062134}" srcOrd="1" destOrd="0" parTransId="{63095D2F-B22F-CE4B-A169-B400C8581FF5}" sibTransId="{F9D809FD-42E8-3C46-AA5B-C0252A438BDB}"/>
    <dgm:cxn modelId="{BA38A0C2-F835-6A43-88AF-4FB12F17DD63}" type="presOf" srcId="{CF0461F7-EC97-BB41-A574-9C1E3009EACC}" destId="{43DEFE45-1517-3942-920E-48C520E9C0B4}" srcOrd="0" destOrd="0" presId="urn:microsoft.com/office/officeart/2005/8/layout/vList5"/>
    <dgm:cxn modelId="{67E76FE4-B519-8C42-AF61-E3F80BE6C2D0}" type="presOf" srcId="{02BA0D8E-884F-D545-BFF7-95207C181DAB}" destId="{5325FF06-BE85-6742-9495-B8F42BFC9B7F}" srcOrd="0" destOrd="0" presId="urn:microsoft.com/office/officeart/2005/8/layout/vList5"/>
    <dgm:cxn modelId="{E75C9603-3DD6-9B43-94A7-C45789FB4084}" type="presParOf" srcId="{5325FF06-BE85-6742-9495-B8F42BFC9B7F}" destId="{29217676-BC9A-6F40-9378-16D87FA052B5}" srcOrd="0" destOrd="0" presId="urn:microsoft.com/office/officeart/2005/8/layout/vList5"/>
    <dgm:cxn modelId="{18774A9A-E513-CE4C-AA91-7BBA73C934CF}" type="presParOf" srcId="{29217676-BC9A-6F40-9378-16D87FA052B5}" destId="{43DEFE45-1517-3942-920E-48C520E9C0B4}" srcOrd="0" destOrd="0" presId="urn:microsoft.com/office/officeart/2005/8/layout/vList5"/>
    <dgm:cxn modelId="{FFCFB6CA-09E3-5D43-AD0D-3DF00B93D1C6}" type="presParOf" srcId="{5325FF06-BE85-6742-9495-B8F42BFC9B7F}" destId="{FF47BD01-2861-BB4B-B9F0-6E54E6904159}" srcOrd="1" destOrd="0" presId="urn:microsoft.com/office/officeart/2005/8/layout/vList5"/>
    <dgm:cxn modelId="{CD361C01-986D-2D4F-99A2-5C00229FBF2C}" type="presParOf" srcId="{5325FF06-BE85-6742-9495-B8F42BFC9B7F}" destId="{AD2DDD9C-ED27-9C41-987A-29D120BF8411}" srcOrd="2" destOrd="0" presId="urn:microsoft.com/office/officeart/2005/8/layout/vList5"/>
    <dgm:cxn modelId="{E14F8F06-1E22-5E41-A2C7-B8E60B8D57B0}" type="presParOf" srcId="{AD2DDD9C-ED27-9C41-987A-29D120BF8411}" destId="{460FFA17-0469-9041-A24E-7544AD33BDF9}"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s </a:t>
          </a:r>
          <a:r>
            <a:rPr lang="en-US" b="1" dirty="0" smtClean="0">
              <a:solidFill>
                <a:schemeClr val="bg1"/>
              </a:solidFill>
            </a:rPr>
            <a:t>14-20</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5CB88DD1-22D4-42B5-A4FE-416A16A7EE1C}" srcId="{44F371D9-EE28-43D3-A86D-541CB7E51DB8}" destId="{C2945230-8A03-49C4-AE11-508590DB7B8B}" srcOrd="0" destOrd="0" parTransId="{FC8924DD-BCE3-491E-AC57-3330F43EE0F3}" sibTransId="{0CE224DD-430C-4167-8C66-F0356FD49815}"/>
    <dgm:cxn modelId="{ABCD3269-AD37-2B4B-854D-EFD0BDA7F313}" type="presOf" srcId="{C2945230-8A03-49C4-AE11-508590DB7B8B}" destId="{DDF5C611-4A57-4D32-BF4D-AD972F42154B}" srcOrd="0" destOrd="0" presId="urn:microsoft.com/office/officeart/2005/8/layout/venn1"/>
    <dgm:cxn modelId="{060FF97A-2EF7-0B4B-A76D-AE0D50607725}" type="presOf" srcId="{44F371D9-EE28-43D3-A86D-541CB7E51DB8}" destId="{834CDD0F-2A72-40E4-9F5C-254C6DC50A0F}" srcOrd="0" destOrd="0" presId="urn:microsoft.com/office/officeart/2005/8/layout/venn1"/>
    <dgm:cxn modelId="{4945A674-458B-E94B-B174-4E06765F2339}"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custT="1"/>
      <dgm:spPr/>
      <dgm:t>
        <a:bodyPr/>
        <a:lstStyle/>
        <a:p>
          <a:pPr rtl="0"/>
          <a:r>
            <a:rPr lang="en-CA" dirty="0" smtClean="0"/>
            <a:t>printing reports</a:t>
          </a:r>
          <a:endParaRPr lang="en-CA" dirty="0"/>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963218B0-03E7-B248-BDE4-426021B288BE}">
      <dgm:prSet/>
      <dgm:spPr/>
      <dgm:t>
        <a:bodyPr/>
        <a:lstStyle/>
        <a:p>
          <a:pPr rtl="0"/>
          <a:r>
            <a:rPr lang="en-CA" dirty="0" smtClean="0"/>
            <a:t>labels</a:t>
          </a:r>
          <a:endParaRPr lang="en-CA" dirty="0"/>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2">
        <dgm:presLayoutVars>
          <dgm:chMax val="1"/>
          <dgm:bulletEnabled val="1"/>
        </dgm:presLayoutVars>
      </dgm:prSet>
      <dgm:spPr/>
      <dgm:t>
        <a:bodyPr/>
        <a:lstStyle/>
        <a:p>
          <a:endParaRPr lang="en-CA"/>
        </a:p>
      </dgm:t>
    </dgm:pt>
    <dgm:pt modelId="{FF47BD01-2861-BB4B-B9F0-6E54E6904159}" type="pres">
      <dgm:prSet presAssocID="{ABC1C475-5434-1B41-BC48-ADC728C8CBF7}" presName="sp" presStyleCnt="0"/>
      <dgm:spPr/>
    </dgm:pt>
    <dgm:pt modelId="{7D86A862-55A7-0E44-8A94-209B07BD1022}" type="pres">
      <dgm:prSet presAssocID="{963218B0-03E7-B248-BDE4-426021B288BE}" presName="linNode" presStyleCnt="0"/>
      <dgm:spPr/>
    </dgm:pt>
    <dgm:pt modelId="{3BFCD27B-6D41-194D-99B3-49A7CFDADFEF}" type="pres">
      <dgm:prSet presAssocID="{963218B0-03E7-B248-BDE4-426021B288BE}" presName="parentText" presStyleLbl="node1" presStyleIdx="1" presStyleCnt="2">
        <dgm:presLayoutVars>
          <dgm:chMax val="1"/>
          <dgm:bulletEnabled val="1"/>
        </dgm:presLayoutVars>
      </dgm:prSet>
      <dgm:spPr/>
      <dgm:t>
        <a:bodyPr/>
        <a:lstStyle/>
        <a:p>
          <a:endParaRPr lang="en-CA"/>
        </a:p>
      </dgm:t>
    </dgm:pt>
  </dgm:ptLst>
  <dgm:cxnLst>
    <dgm:cxn modelId="{F7BC9CA2-A15C-FD47-8FDD-29192AFEE2E7}" type="presOf" srcId="{CF0461F7-EC97-BB41-A574-9C1E3009EACC}" destId="{43DEFE45-1517-3942-920E-48C520E9C0B4}" srcOrd="0" destOrd="0" presId="urn:microsoft.com/office/officeart/2005/8/layout/vList5"/>
    <dgm:cxn modelId="{5DD9D452-7845-AE4B-B4DD-20CB2B6BBBD1}" type="presOf" srcId="{02BA0D8E-884F-D545-BFF7-95207C181DAB}" destId="{5325FF06-BE85-6742-9495-B8F42BFC9B7F}"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712BC364-7900-994F-AAE7-E8F459A67C59}" srcId="{02BA0D8E-884F-D545-BFF7-95207C181DAB}" destId="{963218B0-03E7-B248-BDE4-426021B288BE}" srcOrd="1" destOrd="0" parTransId="{7474B829-CB2E-394E-8C4B-780B9C0B7223}" sibTransId="{37A20B40-C6B8-2244-B6A7-3690479ACC26}"/>
    <dgm:cxn modelId="{0B65C289-1EEE-BB46-A51F-9A6FA9053681}" type="presOf" srcId="{963218B0-03E7-B248-BDE4-426021B288BE}" destId="{3BFCD27B-6D41-194D-99B3-49A7CFDADFEF}" srcOrd="0" destOrd="0" presId="urn:microsoft.com/office/officeart/2005/8/layout/vList5"/>
    <dgm:cxn modelId="{89BF97CF-AC74-3049-BD2A-F59AF5311544}" type="presParOf" srcId="{5325FF06-BE85-6742-9495-B8F42BFC9B7F}" destId="{29217676-BC9A-6F40-9378-16D87FA052B5}" srcOrd="0" destOrd="0" presId="urn:microsoft.com/office/officeart/2005/8/layout/vList5"/>
    <dgm:cxn modelId="{2C3ED3F2-6DD0-3741-9A33-CEB76277E571}" type="presParOf" srcId="{29217676-BC9A-6F40-9378-16D87FA052B5}" destId="{43DEFE45-1517-3942-920E-48C520E9C0B4}" srcOrd="0" destOrd="0" presId="urn:microsoft.com/office/officeart/2005/8/layout/vList5"/>
    <dgm:cxn modelId="{FA2A54EF-D0C1-CF4C-A4AF-8EFDFE3E2FC7}" type="presParOf" srcId="{5325FF06-BE85-6742-9495-B8F42BFC9B7F}" destId="{FF47BD01-2861-BB4B-B9F0-6E54E6904159}" srcOrd="1" destOrd="0" presId="urn:microsoft.com/office/officeart/2005/8/layout/vList5"/>
    <dgm:cxn modelId="{FB0FAD99-D5F0-4B4A-9178-ECF79C672D2E}" type="presParOf" srcId="{5325FF06-BE85-6742-9495-B8F42BFC9B7F}" destId="{7D86A862-55A7-0E44-8A94-209B07BD1022}" srcOrd="2" destOrd="0" presId="urn:microsoft.com/office/officeart/2005/8/layout/vList5"/>
    <dgm:cxn modelId="{29FDE134-5498-BE43-A7E2-5EE3201B6535}" type="presParOf" srcId="{7D86A862-55A7-0E44-8A94-209B07BD1022}" destId="{3BFCD27B-6D41-194D-99B3-49A7CFDADFEF}"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s </a:t>
          </a:r>
          <a:r>
            <a:rPr lang="en-US" b="1" dirty="0" smtClean="0">
              <a:solidFill>
                <a:schemeClr val="bg1"/>
              </a:solidFill>
            </a:rPr>
            <a:t>20-27</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3B059ACC-76D7-B04E-98EE-3D921048D5C4}" type="presOf" srcId="{C2945230-8A03-49C4-AE11-508590DB7B8B}" destId="{DDF5C611-4A57-4D32-BF4D-AD972F42154B}"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A587C309-1CE9-D640-AEC0-E8DFA53AEA6D}" type="presOf" srcId="{44F371D9-EE28-43D3-A86D-541CB7E51DB8}" destId="{834CDD0F-2A72-40E4-9F5C-254C6DC50A0F}" srcOrd="0" destOrd="0" presId="urn:microsoft.com/office/officeart/2005/8/layout/venn1"/>
    <dgm:cxn modelId="{EDD2143A-EBB0-3042-A1CD-6A88D23C4071}"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setting up</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4AD7812B-649E-4940-8BA9-CF13C51DDB5A}">
      <dgm:prSet/>
      <dgm:spPr/>
      <dgm:t>
        <a:bodyPr/>
        <a:lstStyle/>
        <a:p>
          <a:pPr rtl="0"/>
          <a:r>
            <a:rPr lang="en-CA" dirty="0" smtClean="0"/>
            <a:t>sole practitioner</a:t>
          </a:r>
          <a:endParaRPr lang="en-CA" dirty="0"/>
        </a:p>
      </dgm:t>
    </dgm:pt>
    <dgm:pt modelId="{94844876-41E6-7C4A-9EB7-372A91062E87}" type="parTrans" cxnId="{B00FD336-D5BE-814D-8854-3EFDE0F35961}">
      <dgm:prSet/>
      <dgm:spPr/>
      <dgm:t>
        <a:bodyPr/>
        <a:lstStyle/>
        <a:p>
          <a:endParaRPr lang="en-CA"/>
        </a:p>
      </dgm:t>
    </dgm:pt>
    <dgm:pt modelId="{B5A076CC-07FA-6B4A-A94B-67A2BD42B23A}" type="sibTrans" cxnId="{B00FD336-D5BE-814D-8854-3EFDE0F35961}">
      <dgm:prSet/>
      <dgm:spPr/>
      <dgm:t>
        <a:bodyPr/>
        <a:lstStyle/>
        <a:p>
          <a:endParaRPr lang="en-CA"/>
        </a:p>
      </dgm:t>
    </dgm:pt>
    <dgm:pt modelId="{AC9E2CBD-BBA0-C949-B4E4-B5DEAB3D7E31}">
      <dgm:prSet/>
      <dgm:spPr/>
      <dgm:t>
        <a:bodyPr/>
        <a:lstStyle/>
        <a:p>
          <a:pPr rtl="0"/>
          <a:r>
            <a:rPr lang="en-CA" dirty="0" smtClean="0"/>
            <a:t>shared database</a:t>
          </a:r>
          <a:endParaRPr lang="en-CA" dirty="0"/>
        </a:p>
      </dgm:t>
    </dgm:pt>
    <dgm:pt modelId="{1EE4C5DF-D5FD-A847-8372-25F8CF96302B}" type="parTrans" cxnId="{42896299-8027-E640-A907-D1F1A9D780C7}">
      <dgm:prSet/>
      <dgm:spPr/>
      <dgm:t>
        <a:bodyPr/>
        <a:lstStyle/>
        <a:p>
          <a:endParaRPr lang="en-CA"/>
        </a:p>
      </dgm:t>
    </dgm:pt>
    <dgm:pt modelId="{E5BCB89F-5F79-D943-8A0E-4D5A31CF5B41}" type="sibTrans" cxnId="{42896299-8027-E640-A907-D1F1A9D780C7}">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t>
        <a:bodyPr/>
        <a:lstStyle/>
        <a:p>
          <a:endParaRPr lang="en-CA"/>
        </a:p>
      </dgm:t>
    </dgm:pt>
    <dgm:pt modelId="{FF47BD01-2861-BB4B-B9F0-6E54E6904159}" type="pres">
      <dgm:prSet presAssocID="{ABC1C475-5434-1B41-BC48-ADC728C8CBF7}" presName="sp" presStyleCnt="0"/>
      <dgm:spPr/>
    </dgm:pt>
    <dgm:pt modelId="{2574AF0E-5D89-3544-A8C5-A9CE32B50A80}" type="pres">
      <dgm:prSet presAssocID="{4AD7812B-649E-4940-8BA9-CF13C51DDB5A}" presName="linNode" presStyleCnt="0"/>
      <dgm:spPr/>
    </dgm:pt>
    <dgm:pt modelId="{FC047F10-BC50-8D4A-864A-9DDCFB415517}" type="pres">
      <dgm:prSet presAssocID="{4AD7812B-649E-4940-8BA9-CF13C51DDB5A}" presName="parentText" presStyleLbl="node1" presStyleIdx="1" presStyleCnt="3">
        <dgm:presLayoutVars>
          <dgm:chMax val="1"/>
          <dgm:bulletEnabled val="1"/>
        </dgm:presLayoutVars>
      </dgm:prSet>
      <dgm:spPr/>
      <dgm:t>
        <a:bodyPr/>
        <a:lstStyle/>
        <a:p>
          <a:endParaRPr lang="en-CA"/>
        </a:p>
      </dgm:t>
    </dgm:pt>
    <dgm:pt modelId="{70619C83-74A6-1940-9AF2-4332EC0675B7}" type="pres">
      <dgm:prSet presAssocID="{B5A076CC-07FA-6B4A-A94B-67A2BD42B23A}" presName="sp" presStyleCnt="0"/>
      <dgm:spPr/>
    </dgm:pt>
    <dgm:pt modelId="{B3256936-0431-9247-BDD7-B5DA928B3F9D}" type="pres">
      <dgm:prSet presAssocID="{AC9E2CBD-BBA0-C949-B4E4-B5DEAB3D7E31}" presName="linNode" presStyleCnt="0"/>
      <dgm:spPr/>
    </dgm:pt>
    <dgm:pt modelId="{205A893D-F4D8-BD41-9F40-33CD5BC976DC}" type="pres">
      <dgm:prSet presAssocID="{AC9E2CBD-BBA0-C949-B4E4-B5DEAB3D7E31}" presName="parentText" presStyleLbl="node1" presStyleIdx="2" presStyleCnt="3">
        <dgm:presLayoutVars>
          <dgm:chMax val="1"/>
          <dgm:bulletEnabled val="1"/>
        </dgm:presLayoutVars>
      </dgm:prSet>
      <dgm:spPr/>
      <dgm:t>
        <a:bodyPr/>
        <a:lstStyle/>
        <a:p>
          <a:endParaRPr lang="en-CA"/>
        </a:p>
      </dgm:t>
    </dgm:pt>
  </dgm:ptLst>
  <dgm:cxnLst>
    <dgm:cxn modelId="{A5DA861C-974A-BF40-9629-203D2E8596DA}" type="presOf" srcId="{CF0461F7-EC97-BB41-A574-9C1E3009EACC}" destId="{43DEFE45-1517-3942-920E-48C520E9C0B4}" srcOrd="0" destOrd="0" presId="urn:microsoft.com/office/officeart/2005/8/layout/vList5"/>
    <dgm:cxn modelId="{B00FD336-D5BE-814D-8854-3EFDE0F35961}" srcId="{02BA0D8E-884F-D545-BFF7-95207C181DAB}" destId="{4AD7812B-649E-4940-8BA9-CF13C51DDB5A}" srcOrd="1" destOrd="0" parTransId="{94844876-41E6-7C4A-9EB7-372A91062E87}" sibTransId="{B5A076CC-07FA-6B4A-A94B-67A2BD42B23A}"/>
    <dgm:cxn modelId="{674D6C8A-30E6-564D-9142-120BB4D947A9}" srcId="{02BA0D8E-884F-D545-BFF7-95207C181DAB}" destId="{CF0461F7-EC97-BB41-A574-9C1E3009EACC}" srcOrd="0" destOrd="0" parTransId="{B2C709E6-0566-4D4E-97EA-2EBE699D701F}" sibTransId="{ABC1C475-5434-1B41-BC48-ADC728C8CBF7}"/>
    <dgm:cxn modelId="{42896299-8027-E640-A907-D1F1A9D780C7}" srcId="{02BA0D8E-884F-D545-BFF7-95207C181DAB}" destId="{AC9E2CBD-BBA0-C949-B4E4-B5DEAB3D7E31}" srcOrd="2" destOrd="0" parTransId="{1EE4C5DF-D5FD-A847-8372-25F8CF96302B}" sibTransId="{E5BCB89F-5F79-D943-8A0E-4D5A31CF5B41}"/>
    <dgm:cxn modelId="{041B929D-5B81-964E-8B39-C3283D858833}" type="presOf" srcId="{4AD7812B-649E-4940-8BA9-CF13C51DDB5A}" destId="{FC047F10-BC50-8D4A-864A-9DDCFB415517}" srcOrd="0" destOrd="0" presId="urn:microsoft.com/office/officeart/2005/8/layout/vList5"/>
    <dgm:cxn modelId="{F5CA7123-68DC-E642-A48F-A59EA16A3AF2}" type="presOf" srcId="{AC9E2CBD-BBA0-C949-B4E4-B5DEAB3D7E31}" destId="{205A893D-F4D8-BD41-9F40-33CD5BC976DC}" srcOrd="0" destOrd="0" presId="urn:microsoft.com/office/officeart/2005/8/layout/vList5"/>
    <dgm:cxn modelId="{869C405D-6177-F549-8209-6290BB531CAE}" type="presOf" srcId="{02BA0D8E-884F-D545-BFF7-95207C181DAB}" destId="{5325FF06-BE85-6742-9495-B8F42BFC9B7F}" srcOrd="0" destOrd="0" presId="urn:microsoft.com/office/officeart/2005/8/layout/vList5"/>
    <dgm:cxn modelId="{49E274A6-75C3-B244-97C4-17ED313B7A7C}" type="presParOf" srcId="{5325FF06-BE85-6742-9495-B8F42BFC9B7F}" destId="{29217676-BC9A-6F40-9378-16D87FA052B5}" srcOrd="0" destOrd="0" presId="urn:microsoft.com/office/officeart/2005/8/layout/vList5"/>
    <dgm:cxn modelId="{7410EF80-DD5F-1E49-BD6A-9F33BC6E6F3D}" type="presParOf" srcId="{29217676-BC9A-6F40-9378-16D87FA052B5}" destId="{43DEFE45-1517-3942-920E-48C520E9C0B4}" srcOrd="0" destOrd="0" presId="urn:microsoft.com/office/officeart/2005/8/layout/vList5"/>
    <dgm:cxn modelId="{714270DD-4806-0143-9A19-CC8A385F0450}" type="presParOf" srcId="{5325FF06-BE85-6742-9495-B8F42BFC9B7F}" destId="{FF47BD01-2861-BB4B-B9F0-6E54E6904159}" srcOrd="1" destOrd="0" presId="urn:microsoft.com/office/officeart/2005/8/layout/vList5"/>
    <dgm:cxn modelId="{E2D4BBE7-1EDB-6B4C-8724-60BF82755E06}" type="presParOf" srcId="{5325FF06-BE85-6742-9495-B8F42BFC9B7F}" destId="{2574AF0E-5D89-3544-A8C5-A9CE32B50A80}" srcOrd="2" destOrd="0" presId="urn:microsoft.com/office/officeart/2005/8/layout/vList5"/>
    <dgm:cxn modelId="{B2817A44-B6F2-A640-B382-6B5F1D31DEA7}" type="presParOf" srcId="{2574AF0E-5D89-3544-A8C5-A9CE32B50A80}" destId="{FC047F10-BC50-8D4A-864A-9DDCFB415517}" srcOrd="0" destOrd="0" presId="urn:microsoft.com/office/officeart/2005/8/layout/vList5"/>
    <dgm:cxn modelId="{17642648-0CB8-EF4A-B7C0-49A2B29377A0}" type="presParOf" srcId="{5325FF06-BE85-6742-9495-B8F42BFC9B7F}" destId="{70619C83-74A6-1940-9AF2-4332EC0675B7}" srcOrd="3" destOrd="0" presId="urn:microsoft.com/office/officeart/2005/8/layout/vList5"/>
    <dgm:cxn modelId="{B91E7FFF-D547-2F4C-825C-338184E4C99C}" type="presParOf" srcId="{5325FF06-BE85-6742-9495-B8F42BFC9B7F}" destId="{B3256936-0431-9247-BDD7-B5DA928B3F9D}" srcOrd="4" destOrd="0" presId="urn:microsoft.com/office/officeart/2005/8/layout/vList5"/>
    <dgm:cxn modelId="{4AA51E28-0ABB-8641-A7FB-1C6D461DAF3F}" type="presParOf" srcId="{B3256936-0431-9247-BDD7-B5DA928B3F9D}" destId="{205A893D-F4D8-BD41-9F40-33CD5BC976DC}"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s </a:t>
          </a:r>
          <a:r>
            <a:rPr lang="en-US" b="1" dirty="0" smtClean="0">
              <a:solidFill>
                <a:schemeClr val="bg1"/>
              </a:solidFill>
            </a:rPr>
            <a:t>7-9</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5CB88DD1-22D4-42B5-A4FE-416A16A7EE1C}" srcId="{44F371D9-EE28-43D3-A86D-541CB7E51DB8}" destId="{C2945230-8A03-49C4-AE11-508590DB7B8B}" srcOrd="0" destOrd="0" parTransId="{FC8924DD-BCE3-491E-AC57-3330F43EE0F3}" sibTransId="{0CE224DD-430C-4167-8C66-F0356FD49815}"/>
    <dgm:cxn modelId="{3609448E-A534-6146-8762-6F92FD3E8806}" type="presOf" srcId="{C2945230-8A03-49C4-AE11-508590DB7B8B}" destId="{DDF5C611-4A57-4D32-BF4D-AD972F42154B}" srcOrd="0" destOrd="0" presId="urn:microsoft.com/office/officeart/2005/8/layout/venn1"/>
    <dgm:cxn modelId="{311138B3-80E8-2E47-A7B0-B9F893D92B34}" type="presOf" srcId="{44F371D9-EE28-43D3-A86D-541CB7E51DB8}" destId="{834CDD0F-2A72-40E4-9F5C-254C6DC50A0F}" srcOrd="0" destOrd="0" presId="urn:microsoft.com/office/officeart/2005/8/layout/venn1"/>
    <dgm:cxn modelId="{BCA68F97-08A6-BF44-B20D-7F1BF3E44DD9}"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setting up</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view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filters</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6306B4F0-0BF6-414D-BBDB-4B362D062134}">
      <dgm:prSet/>
      <dgm:spPr/>
      <dgm:t>
        <a:bodyPr/>
        <a:lstStyle/>
        <a:p>
          <a:pPr rtl="0"/>
          <a:r>
            <a:rPr lang="en-CA" dirty="0"/>
            <a:t>indexing</a:t>
          </a:r>
        </a:p>
      </dgm:t>
    </dgm:pt>
    <dgm:pt modelId="{63095D2F-B22F-CE4B-A169-B400C8581FF5}" type="parTrans" cxnId="{04D667D6-88F2-9C43-89F5-E31C711C0AE1}">
      <dgm:prSet/>
      <dgm:spPr/>
      <dgm:t>
        <a:bodyPr/>
        <a:lstStyle/>
        <a:p>
          <a:endParaRPr lang="en-CA"/>
        </a:p>
      </dgm:t>
    </dgm:pt>
    <dgm:pt modelId="{F9D809FD-42E8-3C46-AA5B-C0252A438BDB}" type="sibTrans" cxnId="{04D667D6-88F2-9C43-89F5-E31C711C0AE1}">
      <dgm:prSet/>
      <dgm:spPr/>
      <dgm:t>
        <a:bodyPr/>
        <a:lstStyle/>
        <a:p>
          <a:endParaRPr lang="en-CA"/>
        </a:p>
      </dgm:t>
    </dgm:pt>
    <dgm:pt modelId="{99832C4D-1135-46DD-9DEA-10960EFACAEB}">
      <dgm:prSet/>
      <dgm:spPr/>
      <dgm:t>
        <a:bodyPr/>
        <a:lstStyle/>
        <a:p>
          <a:pPr rtl="0"/>
          <a:r>
            <a:rPr lang="en-CA" dirty="0"/>
            <a:t>page 37</a:t>
          </a:r>
        </a:p>
      </dgm:t>
    </dgm:pt>
    <dgm:pt modelId="{4C0B905A-7F81-45E0-B856-70D2E5BECA08}" type="parTrans" cxnId="{4CC74EC2-D6CA-4DD4-AD49-8996A0FDAC84}">
      <dgm:prSet/>
      <dgm:spPr/>
      <dgm:t>
        <a:bodyPr/>
        <a:lstStyle/>
        <a:p>
          <a:endParaRPr lang="en-US"/>
        </a:p>
      </dgm:t>
    </dgm:pt>
    <dgm:pt modelId="{E5B8305F-7A00-43EF-8D21-696CCB2F70D7}" type="sibTrans" cxnId="{4CC74EC2-D6CA-4DD4-AD49-8996A0FDAC84}">
      <dgm:prSet/>
      <dgm:spPr/>
      <dgm:t>
        <a:bodyPr/>
        <a:lstStyle/>
        <a:p>
          <a:endParaRPr lang="en-US"/>
        </a:p>
      </dgm:t>
    </dgm:pt>
    <dgm:pt modelId="{63B66872-B744-46FC-A998-6E1552D136BC}">
      <dgm:prSet/>
      <dgm:spPr/>
      <dgm:t>
        <a:bodyPr/>
        <a:lstStyle/>
        <a:p>
          <a:pPr rtl="0"/>
          <a:r>
            <a:rPr lang="en-CA" dirty="0"/>
            <a:t>page 41</a:t>
          </a:r>
        </a:p>
      </dgm:t>
    </dgm:pt>
    <dgm:pt modelId="{6CC70945-8D49-4B92-9208-1438EB3B8C1B}" type="parTrans" cxnId="{2D7DA469-5EB6-4334-8ECE-8FD680A97293}">
      <dgm:prSet/>
      <dgm:spPr/>
      <dgm:t>
        <a:bodyPr/>
        <a:lstStyle/>
        <a:p>
          <a:endParaRPr lang="en-US"/>
        </a:p>
      </dgm:t>
    </dgm:pt>
    <dgm:pt modelId="{03568EF6-0094-48D5-B432-305077D83DFB}" type="sibTrans" cxnId="{2D7DA469-5EB6-4334-8ECE-8FD680A97293}">
      <dgm:prSet/>
      <dgm:spPr/>
      <dgm:t>
        <a:bodyPr/>
        <a:lstStyle/>
        <a:p>
          <a:endParaRPr lang="en-US"/>
        </a:p>
      </dgm:t>
    </dgm:pt>
    <dgm:pt modelId="{B9393297-7540-44BA-A3E8-BB89F7599B7E}">
      <dgm:prSet/>
      <dgm:spPr/>
      <dgm:t>
        <a:bodyPr/>
        <a:lstStyle/>
        <a:p>
          <a:pPr rtl="0"/>
          <a:r>
            <a:rPr lang="en-CA" dirty="0"/>
            <a:t>page 42</a:t>
          </a:r>
        </a:p>
      </dgm:t>
    </dgm:pt>
    <dgm:pt modelId="{E75DB4D1-83A4-4D1F-A7D3-37A8EBCF5966}" type="parTrans" cxnId="{1A152FAC-3BBF-4D36-9329-06B0DDD61366}">
      <dgm:prSet/>
      <dgm:spPr/>
      <dgm:t>
        <a:bodyPr/>
        <a:lstStyle/>
        <a:p>
          <a:endParaRPr lang="en-US"/>
        </a:p>
      </dgm:t>
    </dgm:pt>
    <dgm:pt modelId="{941E2111-D102-4F77-81EE-9CE18E780B47}" type="sibTrans" cxnId="{1A152FAC-3BBF-4D36-9329-06B0DDD61366}">
      <dgm:prSet/>
      <dgm:spPr/>
      <dgm:t>
        <a:bodyPr/>
        <a:lstStyle/>
        <a:p>
          <a:endParaRPr lang="en-US"/>
        </a:p>
      </dgm:t>
    </dgm:pt>
    <dgm:pt modelId="{D7781CBE-F52C-491E-B4B4-8942BAAEB811}">
      <dgm:prSet/>
      <dgm:spPr/>
      <dgm:t>
        <a:bodyPr/>
        <a:lstStyle/>
        <a:p>
          <a:pPr rtl="0"/>
          <a:r>
            <a:rPr lang="en-CA" dirty="0"/>
            <a:t>page 43</a:t>
          </a:r>
        </a:p>
      </dgm:t>
    </dgm:pt>
    <dgm:pt modelId="{61C1F9A0-621C-4E82-8C25-DC5D81A3FA0A}" type="parTrans" cxnId="{A12C5528-4E40-421F-B373-66FA8BD4331F}">
      <dgm:prSet/>
      <dgm:spPr/>
      <dgm:t>
        <a:bodyPr/>
        <a:lstStyle/>
        <a:p>
          <a:endParaRPr lang="en-US"/>
        </a:p>
      </dgm:t>
    </dgm:pt>
    <dgm:pt modelId="{17543E45-2A42-422A-87F5-2A315B691443}" type="sibTrans" cxnId="{A12C5528-4E40-421F-B373-66FA8BD4331F}">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4">
        <dgm:presLayoutVars>
          <dgm:chMax val="1"/>
          <dgm:bulletEnabled val="1"/>
        </dgm:presLayoutVars>
      </dgm:prSet>
      <dgm:spPr/>
      <dgm:t>
        <a:bodyPr/>
        <a:lstStyle/>
        <a:p>
          <a:endParaRPr lang="en-CA"/>
        </a:p>
      </dgm:t>
    </dgm:pt>
    <dgm:pt modelId="{046258FA-4D7E-4D9D-9B3C-57EC9DAA00CA}" type="pres">
      <dgm:prSet presAssocID="{CF0461F7-EC97-BB41-A574-9C1E3009EACC}" presName="descendantText" presStyleLbl="alignAccFollowNode1" presStyleIdx="0" presStyleCnt="4">
        <dgm:presLayoutVars>
          <dgm:bulletEnabled val="1"/>
        </dgm:presLayoutVars>
      </dgm:prSet>
      <dgm:spPr/>
      <dgm:t>
        <a:bodyPr/>
        <a:lstStyle/>
        <a:p>
          <a:endParaRPr lang="en-CA"/>
        </a:p>
      </dgm:t>
    </dgm:pt>
    <dgm:pt modelId="{FF47BD01-2861-BB4B-B9F0-6E54E6904159}" type="pres">
      <dgm:prSet presAssocID="{ABC1C475-5434-1B41-BC48-ADC728C8CBF7}" presName="sp" presStyleCnt="0"/>
      <dgm:spPr/>
    </dgm:pt>
    <dgm:pt modelId="{AD2DDD9C-ED27-9C41-987A-29D120BF8411}" type="pres">
      <dgm:prSet presAssocID="{6306B4F0-0BF6-414D-BBDB-4B362D062134}" presName="linNode" presStyleCnt="0"/>
      <dgm:spPr/>
    </dgm:pt>
    <dgm:pt modelId="{460FFA17-0469-9041-A24E-7544AD33BDF9}" type="pres">
      <dgm:prSet presAssocID="{6306B4F0-0BF6-414D-BBDB-4B362D062134}" presName="parentText" presStyleLbl="node1" presStyleIdx="1" presStyleCnt="4">
        <dgm:presLayoutVars>
          <dgm:chMax val="1"/>
          <dgm:bulletEnabled val="1"/>
        </dgm:presLayoutVars>
      </dgm:prSet>
      <dgm:spPr/>
      <dgm:t>
        <a:bodyPr/>
        <a:lstStyle/>
        <a:p>
          <a:endParaRPr lang="en-CA"/>
        </a:p>
      </dgm:t>
    </dgm:pt>
    <dgm:pt modelId="{F07DEF0E-0882-484E-A190-339049CE4C92}" type="pres">
      <dgm:prSet presAssocID="{6306B4F0-0BF6-414D-BBDB-4B362D062134}" presName="descendantText" presStyleLbl="alignAccFollowNode1" presStyleIdx="1" presStyleCnt="4">
        <dgm:presLayoutVars>
          <dgm:bulletEnabled val="1"/>
        </dgm:presLayoutVars>
      </dgm:prSet>
      <dgm:spPr/>
      <dgm:t>
        <a:bodyPr/>
        <a:lstStyle/>
        <a:p>
          <a:endParaRPr lang="en-CA"/>
        </a:p>
      </dgm:t>
    </dgm:pt>
    <dgm:pt modelId="{CB97137B-17B9-1045-8021-99308DCA5933}" type="pres">
      <dgm:prSet presAssocID="{F9D809FD-42E8-3C46-AA5B-C0252A438BDB}"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2" presStyleCnt="4">
        <dgm:presLayoutVars>
          <dgm:chMax val="1"/>
          <dgm:bulletEnabled val="1"/>
        </dgm:presLayoutVars>
      </dgm:prSet>
      <dgm:spPr/>
      <dgm:t>
        <a:bodyPr/>
        <a:lstStyle/>
        <a:p>
          <a:endParaRPr lang="en-CA"/>
        </a:p>
      </dgm:t>
    </dgm:pt>
    <dgm:pt modelId="{505FF0DA-91C6-4528-BE8D-7D4A4A4CED09}" type="pres">
      <dgm:prSet presAssocID="{C8A9BCB3-602F-FC4A-9626-FAF506510228}" presName="descendantText" presStyleLbl="alignAccFollowNode1" presStyleIdx="2" presStyleCnt="4">
        <dgm:presLayoutVars>
          <dgm:bulletEnabled val="1"/>
        </dgm:presLayoutVars>
      </dgm:prSet>
      <dgm:spPr/>
      <dgm:t>
        <a:bodyPr/>
        <a:lstStyle/>
        <a:p>
          <a:endParaRPr lang="en-CA"/>
        </a:p>
      </dgm:t>
    </dgm:pt>
    <dgm:pt modelId="{F9190807-766A-E14C-B346-5D0F51431F55}" type="pres">
      <dgm:prSet presAssocID="{8C959BF5-5ADE-2F4A-B433-E7E671FD26BE}" presName="sp" presStyleCnt="0"/>
      <dgm:spPr/>
    </dgm:pt>
    <dgm:pt modelId="{7D86A862-55A7-0E44-8A94-209B07BD1022}" type="pres">
      <dgm:prSet presAssocID="{963218B0-03E7-B248-BDE4-426021B288BE}" presName="linNode" presStyleCnt="0"/>
      <dgm:spPr/>
    </dgm:pt>
    <dgm:pt modelId="{3BFCD27B-6D41-194D-99B3-49A7CFDADFEF}" type="pres">
      <dgm:prSet presAssocID="{963218B0-03E7-B248-BDE4-426021B288BE}" presName="parentText" presStyleLbl="node1" presStyleIdx="3" presStyleCnt="4">
        <dgm:presLayoutVars>
          <dgm:chMax val="1"/>
          <dgm:bulletEnabled val="1"/>
        </dgm:presLayoutVars>
      </dgm:prSet>
      <dgm:spPr/>
      <dgm:t>
        <a:bodyPr/>
        <a:lstStyle/>
        <a:p>
          <a:endParaRPr lang="en-CA"/>
        </a:p>
      </dgm:t>
    </dgm:pt>
    <dgm:pt modelId="{C59A2883-B707-4CB7-8A16-838E8CBAD4C7}" type="pres">
      <dgm:prSet presAssocID="{963218B0-03E7-B248-BDE4-426021B288BE}" presName="descendantText" presStyleLbl="alignAccFollowNode1" presStyleIdx="3" presStyleCnt="4">
        <dgm:presLayoutVars>
          <dgm:bulletEnabled val="1"/>
        </dgm:presLayoutVars>
      </dgm:prSet>
      <dgm:spPr/>
      <dgm:t>
        <a:bodyPr/>
        <a:lstStyle/>
        <a:p>
          <a:endParaRPr lang="en-CA"/>
        </a:p>
      </dgm:t>
    </dgm:pt>
  </dgm:ptLst>
  <dgm:cxnLst>
    <dgm:cxn modelId="{453E68AA-67C2-5D4B-9EAD-F75602B93EF6}" type="presOf" srcId="{C8A9BCB3-602F-FC4A-9626-FAF506510228}" destId="{64DA235F-5C58-0240-8B02-6F606EB39216}" srcOrd="0" destOrd="0" presId="urn:microsoft.com/office/officeart/2005/8/layout/vList5"/>
    <dgm:cxn modelId="{2D7DA469-5EB6-4334-8ECE-8FD680A97293}" srcId="{6306B4F0-0BF6-414D-BBDB-4B362D062134}" destId="{63B66872-B744-46FC-A998-6E1552D136BC}" srcOrd="0" destOrd="0" parTransId="{6CC70945-8D49-4B92-9208-1438EB3B8C1B}" sibTransId="{03568EF6-0094-48D5-B432-305077D83DFB}"/>
    <dgm:cxn modelId="{BE906D31-7290-DD44-95EC-76AFA82892CF}" type="presOf" srcId="{963218B0-03E7-B248-BDE4-426021B288BE}" destId="{3BFCD27B-6D41-194D-99B3-49A7CFDADFEF}" srcOrd="0" destOrd="0" presId="urn:microsoft.com/office/officeart/2005/8/layout/vList5"/>
    <dgm:cxn modelId="{A12C5528-4E40-421F-B373-66FA8BD4331F}" srcId="{963218B0-03E7-B248-BDE4-426021B288BE}" destId="{D7781CBE-F52C-491E-B4B4-8942BAAEB811}" srcOrd="0" destOrd="0" parTransId="{61C1F9A0-621C-4E82-8C25-DC5D81A3FA0A}" sibTransId="{17543E45-2A42-422A-87F5-2A315B691443}"/>
    <dgm:cxn modelId="{930ABFE9-E237-494D-9A40-C04D661A0BF3}" type="presOf" srcId="{02BA0D8E-884F-D545-BFF7-95207C181DAB}" destId="{5325FF06-BE85-6742-9495-B8F42BFC9B7F}"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F25B1FE0-8912-E141-A6A0-FCA0A18CA509}" type="presOf" srcId="{CF0461F7-EC97-BB41-A574-9C1E3009EACC}" destId="{43DEFE45-1517-3942-920E-48C520E9C0B4}" srcOrd="0" destOrd="0" presId="urn:microsoft.com/office/officeart/2005/8/layout/vList5"/>
    <dgm:cxn modelId="{712BC364-7900-994F-AAE7-E8F459A67C59}" srcId="{02BA0D8E-884F-D545-BFF7-95207C181DAB}" destId="{963218B0-03E7-B248-BDE4-426021B288BE}" srcOrd="3" destOrd="0" parTransId="{7474B829-CB2E-394E-8C4B-780B9C0B7223}" sibTransId="{37A20B40-C6B8-2244-B6A7-3690479ACC26}"/>
    <dgm:cxn modelId="{4CC74EC2-D6CA-4DD4-AD49-8996A0FDAC84}" srcId="{CF0461F7-EC97-BB41-A574-9C1E3009EACC}" destId="{99832C4D-1135-46DD-9DEA-10960EFACAEB}" srcOrd="0" destOrd="0" parTransId="{4C0B905A-7F81-45E0-B856-70D2E5BECA08}" sibTransId="{E5B8305F-7A00-43EF-8D21-696CCB2F70D7}"/>
    <dgm:cxn modelId="{463D7D93-4D31-A746-A9EE-54D054F20D31}" type="presOf" srcId="{63B66872-B744-46FC-A998-6E1552D136BC}" destId="{F07DEF0E-0882-484E-A190-339049CE4C92}" srcOrd="0" destOrd="0" presId="urn:microsoft.com/office/officeart/2005/8/layout/vList5"/>
    <dgm:cxn modelId="{357597B9-1C91-4142-99CF-17AF08B139F7}" type="presOf" srcId="{D7781CBE-F52C-491E-B4B4-8942BAAEB811}" destId="{C59A2883-B707-4CB7-8A16-838E8CBAD4C7}" srcOrd="0" destOrd="0" presId="urn:microsoft.com/office/officeart/2005/8/layout/vList5"/>
    <dgm:cxn modelId="{04D667D6-88F2-9C43-89F5-E31C711C0AE1}" srcId="{02BA0D8E-884F-D545-BFF7-95207C181DAB}" destId="{6306B4F0-0BF6-414D-BBDB-4B362D062134}" srcOrd="1" destOrd="0" parTransId="{63095D2F-B22F-CE4B-A169-B400C8581FF5}" sibTransId="{F9D809FD-42E8-3C46-AA5B-C0252A438BDB}"/>
    <dgm:cxn modelId="{DF1C3F5E-7614-E74A-AADB-7CF0F459C477}" type="presOf" srcId="{B9393297-7540-44BA-A3E8-BB89F7599B7E}" destId="{505FF0DA-91C6-4528-BE8D-7D4A4A4CED09}" srcOrd="0" destOrd="0" presId="urn:microsoft.com/office/officeart/2005/8/layout/vList5"/>
    <dgm:cxn modelId="{63BAC0EE-F228-E749-A66C-A665246A6D20}" type="presOf" srcId="{99832C4D-1135-46DD-9DEA-10960EFACAEB}" destId="{046258FA-4D7E-4D9D-9B3C-57EC9DAA00CA}" srcOrd="0" destOrd="0" presId="urn:microsoft.com/office/officeart/2005/8/layout/vList5"/>
    <dgm:cxn modelId="{56EF0DD2-1AD6-AC4D-8684-479C4202D190}" srcId="{02BA0D8E-884F-D545-BFF7-95207C181DAB}" destId="{C8A9BCB3-602F-FC4A-9626-FAF506510228}" srcOrd="2" destOrd="0" parTransId="{0B803AD3-6C2C-FE47-9803-37C40BE4582E}" sibTransId="{8C959BF5-5ADE-2F4A-B433-E7E671FD26BE}"/>
    <dgm:cxn modelId="{9D818309-02FD-F045-AE1E-ED9617289940}" type="presOf" srcId="{6306B4F0-0BF6-414D-BBDB-4B362D062134}" destId="{460FFA17-0469-9041-A24E-7544AD33BDF9}" srcOrd="0" destOrd="0" presId="urn:microsoft.com/office/officeart/2005/8/layout/vList5"/>
    <dgm:cxn modelId="{1A152FAC-3BBF-4D36-9329-06B0DDD61366}" srcId="{C8A9BCB3-602F-FC4A-9626-FAF506510228}" destId="{B9393297-7540-44BA-A3E8-BB89F7599B7E}" srcOrd="0" destOrd="0" parTransId="{E75DB4D1-83A4-4D1F-A7D3-37A8EBCF5966}" sibTransId="{941E2111-D102-4F77-81EE-9CE18E780B47}"/>
    <dgm:cxn modelId="{210160F4-B409-7946-A358-28307FB374DF}" type="presParOf" srcId="{5325FF06-BE85-6742-9495-B8F42BFC9B7F}" destId="{29217676-BC9A-6F40-9378-16D87FA052B5}" srcOrd="0" destOrd="0" presId="urn:microsoft.com/office/officeart/2005/8/layout/vList5"/>
    <dgm:cxn modelId="{DCCF4CB2-6613-124F-BB4D-6D76727AF287}" type="presParOf" srcId="{29217676-BC9A-6F40-9378-16D87FA052B5}" destId="{43DEFE45-1517-3942-920E-48C520E9C0B4}" srcOrd="0" destOrd="0" presId="urn:microsoft.com/office/officeart/2005/8/layout/vList5"/>
    <dgm:cxn modelId="{A620C698-39E5-2A4C-9BBB-CA87B1BAAD66}" type="presParOf" srcId="{29217676-BC9A-6F40-9378-16D87FA052B5}" destId="{046258FA-4D7E-4D9D-9B3C-57EC9DAA00CA}" srcOrd="1" destOrd="0" presId="urn:microsoft.com/office/officeart/2005/8/layout/vList5"/>
    <dgm:cxn modelId="{DD22906D-A264-824A-8424-0FD9CD701527}" type="presParOf" srcId="{5325FF06-BE85-6742-9495-B8F42BFC9B7F}" destId="{FF47BD01-2861-BB4B-B9F0-6E54E6904159}" srcOrd="1" destOrd="0" presId="urn:microsoft.com/office/officeart/2005/8/layout/vList5"/>
    <dgm:cxn modelId="{8A804D50-5DBC-DA4E-8AA7-B269DC29D6E5}" type="presParOf" srcId="{5325FF06-BE85-6742-9495-B8F42BFC9B7F}" destId="{AD2DDD9C-ED27-9C41-987A-29D120BF8411}" srcOrd="2" destOrd="0" presId="urn:microsoft.com/office/officeart/2005/8/layout/vList5"/>
    <dgm:cxn modelId="{CE13D091-C9D2-5F4A-A088-592B20400FD8}" type="presParOf" srcId="{AD2DDD9C-ED27-9C41-987A-29D120BF8411}" destId="{460FFA17-0469-9041-A24E-7544AD33BDF9}" srcOrd="0" destOrd="0" presId="urn:microsoft.com/office/officeart/2005/8/layout/vList5"/>
    <dgm:cxn modelId="{8D3B5259-1F61-AA4C-B610-8835C1F109B8}" type="presParOf" srcId="{AD2DDD9C-ED27-9C41-987A-29D120BF8411}" destId="{F07DEF0E-0882-484E-A190-339049CE4C92}" srcOrd="1" destOrd="0" presId="urn:microsoft.com/office/officeart/2005/8/layout/vList5"/>
    <dgm:cxn modelId="{358EF364-CD9E-3445-8AFE-AF4D99783233}" type="presParOf" srcId="{5325FF06-BE85-6742-9495-B8F42BFC9B7F}" destId="{CB97137B-17B9-1045-8021-99308DCA5933}" srcOrd="3" destOrd="0" presId="urn:microsoft.com/office/officeart/2005/8/layout/vList5"/>
    <dgm:cxn modelId="{9C9F0CA5-8388-1843-8643-F0FCB9C657AA}" type="presParOf" srcId="{5325FF06-BE85-6742-9495-B8F42BFC9B7F}" destId="{77BABA58-F98D-1C40-83AE-B449CF65A5F1}" srcOrd="4" destOrd="0" presId="urn:microsoft.com/office/officeart/2005/8/layout/vList5"/>
    <dgm:cxn modelId="{A1BF067A-042A-554D-9E5C-951542B751A7}" type="presParOf" srcId="{77BABA58-F98D-1C40-83AE-B449CF65A5F1}" destId="{64DA235F-5C58-0240-8B02-6F606EB39216}" srcOrd="0" destOrd="0" presId="urn:microsoft.com/office/officeart/2005/8/layout/vList5"/>
    <dgm:cxn modelId="{C09E3C6C-5B2D-EC48-8C45-CB452CCE23CE}" type="presParOf" srcId="{77BABA58-F98D-1C40-83AE-B449CF65A5F1}" destId="{505FF0DA-91C6-4528-BE8D-7D4A4A4CED09}" srcOrd="1" destOrd="0" presId="urn:microsoft.com/office/officeart/2005/8/layout/vList5"/>
    <dgm:cxn modelId="{EB80075C-3048-714D-B67C-DF25C3B97435}" type="presParOf" srcId="{5325FF06-BE85-6742-9495-B8F42BFC9B7F}" destId="{F9190807-766A-E14C-B346-5D0F51431F55}" srcOrd="5" destOrd="0" presId="urn:microsoft.com/office/officeart/2005/8/layout/vList5"/>
    <dgm:cxn modelId="{DB09AEF7-A9A2-1344-8690-15F9CFC763E1}" type="presParOf" srcId="{5325FF06-BE85-6742-9495-B8F42BFC9B7F}" destId="{7D86A862-55A7-0E44-8A94-209B07BD1022}" srcOrd="6" destOrd="0" presId="urn:microsoft.com/office/officeart/2005/8/layout/vList5"/>
    <dgm:cxn modelId="{CF6AEE00-FBC7-2945-BA32-639361E7B24F}" type="presParOf" srcId="{7D86A862-55A7-0E44-8A94-209B07BD1022}" destId="{3BFCD27B-6D41-194D-99B3-49A7CFDADFEF}" srcOrd="0" destOrd="0" presId="urn:microsoft.com/office/officeart/2005/8/layout/vList5"/>
    <dgm:cxn modelId="{7900C515-21B6-9A4A-BFEF-F49A3E629871}" type="presParOf" srcId="{7D86A862-55A7-0E44-8A94-209B07BD1022}" destId="{C59A2883-B707-4CB7-8A16-838E8CBAD4C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s 37-43</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5CB88DD1-22D4-42B5-A4FE-416A16A7EE1C}" srcId="{44F371D9-EE28-43D3-A86D-541CB7E51DB8}" destId="{C2945230-8A03-49C4-AE11-508590DB7B8B}" srcOrd="0" destOrd="0" parTransId="{FC8924DD-BCE3-491E-AC57-3330F43EE0F3}" sibTransId="{0CE224DD-430C-4167-8C66-F0356FD49815}"/>
    <dgm:cxn modelId="{AFD5DC51-7834-364C-B5ED-04F99BBFA55E}" type="presOf" srcId="{C2945230-8A03-49C4-AE11-508590DB7B8B}" destId="{DDF5C611-4A57-4D32-BF4D-AD972F42154B}" srcOrd="0" destOrd="0" presId="urn:microsoft.com/office/officeart/2005/8/layout/venn1"/>
    <dgm:cxn modelId="{D583FE66-C227-0443-B47F-D9AA43B7BB9D}" type="presOf" srcId="{44F371D9-EE28-43D3-A86D-541CB7E51DB8}" destId="{834CDD0F-2A72-40E4-9F5C-254C6DC50A0F}" srcOrd="0" destOrd="0" presId="urn:microsoft.com/office/officeart/2005/8/layout/venn1"/>
    <dgm:cxn modelId="{4F6864F1-FDB8-9948-A65B-E6D50BD69B83}"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6306B4F0-0BF6-414D-BBDB-4B362D062134}">
      <dgm:prSet/>
      <dgm:spPr/>
      <dgm:t>
        <a:bodyPr/>
        <a:lstStyle/>
        <a:p>
          <a:pPr rtl="0"/>
          <a:r>
            <a:rPr lang="en-CA" dirty="0"/>
            <a:t>indexing</a:t>
          </a:r>
        </a:p>
      </dgm:t>
    </dgm:pt>
    <dgm:pt modelId="{63095D2F-B22F-CE4B-A169-B400C8581FF5}" type="parTrans" cxnId="{04D667D6-88F2-9C43-89F5-E31C711C0AE1}">
      <dgm:prSet/>
      <dgm:spPr/>
      <dgm:t>
        <a:bodyPr/>
        <a:lstStyle/>
        <a:p>
          <a:endParaRPr lang="en-CA"/>
        </a:p>
      </dgm:t>
    </dgm:pt>
    <dgm:pt modelId="{F9D809FD-42E8-3C46-AA5B-C0252A438BDB}" type="sibTrans" cxnId="{04D667D6-88F2-9C43-89F5-E31C711C0AE1}">
      <dgm:prSet/>
      <dgm:spPr/>
      <dgm:t>
        <a:bodyPr/>
        <a:lstStyle/>
        <a:p>
          <a:endParaRPr lang="en-CA"/>
        </a:p>
      </dgm:t>
    </dgm:pt>
    <dgm:pt modelId="{E25206B6-99D5-A04D-9764-A37A3A60B289}">
      <dgm:prSet/>
      <dgm:spPr/>
      <dgm:t>
        <a:bodyPr/>
        <a:lstStyle/>
        <a:p>
          <a:pPr rtl="0"/>
          <a:r>
            <a:rPr lang="en-CA" dirty="0" smtClean="0"/>
            <a:t>first-time use only</a:t>
          </a:r>
          <a:endParaRPr lang="en-CA" dirty="0"/>
        </a:p>
      </dgm:t>
    </dgm:pt>
    <dgm:pt modelId="{492A14D1-F5D8-4546-8031-A5968602D4A5}" type="parTrans" cxnId="{AF27BA7D-3E14-6845-BCA7-7825A20BB60D}">
      <dgm:prSet/>
      <dgm:spPr/>
      <dgm:t>
        <a:bodyPr/>
        <a:lstStyle/>
        <a:p>
          <a:endParaRPr lang="en-CA"/>
        </a:p>
      </dgm:t>
    </dgm:pt>
    <dgm:pt modelId="{FC81C79C-BEC5-5C4F-84B5-98D8CF799B36}" type="sibTrans" cxnId="{AF27BA7D-3E14-6845-BCA7-7825A20BB60D}">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AD2DDD9C-ED27-9C41-987A-29D120BF8411}" type="pres">
      <dgm:prSet presAssocID="{6306B4F0-0BF6-414D-BBDB-4B362D062134}" presName="linNode" presStyleCnt="0"/>
      <dgm:spPr/>
    </dgm:pt>
    <dgm:pt modelId="{460FFA17-0469-9041-A24E-7544AD33BDF9}" type="pres">
      <dgm:prSet presAssocID="{6306B4F0-0BF6-414D-BBDB-4B362D062134}" presName="parentText" presStyleLbl="node1" presStyleIdx="0" presStyleCnt="2">
        <dgm:presLayoutVars>
          <dgm:chMax val="1"/>
          <dgm:bulletEnabled val="1"/>
        </dgm:presLayoutVars>
      </dgm:prSet>
      <dgm:spPr/>
      <dgm:t>
        <a:bodyPr/>
        <a:lstStyle/>
        <a:p>
          <a:endParaRPr lang="en-CA"/>
        </a:p>
      </dgm:t>
    </dgm:pt>
    <dgm:pt modelId="{CB97137B-17B9-1045-8021-99308DCA5933}" type="pres">
      <dgm:prSet presAssocID="{F9D809FD-42E8-3C46-AA5B-C0252A438BDB}" presName="sp" presStyleCnt="0"/>
      <dgm:spPr/>
    </dgm:pt>
    <dgm:pt modelId="{E399E930-1B18-CE4F-85DC-C27CA9CCD837}" type="pres">
      <dgm:prSet presAssocID="{E25206B6-99D5-A04D-9764-A37A3A60B289}" presName="linNode" presStyleCnt="0"/>
      <dgm:spPr/>
    </dgm:pt>
    <dgm:pt modelId="{553BAEBD-2A7C-9D45-B38B-473A8DD04E50}" type="pres">
      <dgm:prSet presAssocID="{E25206B6-99D5-A04D-9764-A37A3A60B289}" presName="parentText" presStyleLbl="node1" presStyleIdx="1" presStyleCnt="2">
        <dgm:presLayoutVars>
          <dgm:chMax val="1"/>
          <dgm:bulletEnabled val="1"/>
        </dgm:presLayoutVars>
      </dgm:prSet>
      <dgm:spPr/>
      <dgm:t>
        <a:bodyPr/>
        <a:lstStyle/>
        <a:p>
          <a:endParaRPr lang="en-CA"/>
        </a:p>
      </dgm:t>
    </dgm:pt>
  </dgm:ptLst>
  <dgm:cxnLst>
    <dgm:cxn modelId="{08BA843A-8F86-654A-B011-5858D64EA36F}" type="presOf" srcId="{02BA0D8E-884F-D545-BFF7-95207C181DAB}" destId="{5325FF06-BE85-6742-9495-B8F42BFC9B7F}" srcOrd="0" destOrd="0" presId="urn:microsoft.com/office/officeart/2005/8/layout/vList5"/>
    <dgm:cxn modelId="{04D667D6-88F2-9C43-89F5-E31C711C0AE1}" srcId="{02BA0D8E-884F-D545-BFF7-95207C181DAB}" destId="{6306B4F0-0BF6-414D-BBDB-4B362D062134}" srcOrd="0" destOrd="0" parTransId="{63095D2F-B22F-CE4B-A169-B400C8581FF5}" sibTransId="{F9D809FD-42E8-3C46-AA5B-C0252A438BDB}"/>
    <dgm:cxn modelId="{39A5FB97-0590-C944-BE62-99203F5C754D}" type="presOf" srcId="{6306B4F0-0BF6-414D-BBDB-4B362D062134}" destId="{460FFA17-0469-9041-A24E-7544AD33BDF9}" srcOrd="0" destOrd="0" presId="urn:microsoft.com/office/officeart/2005/8/layout/vList5"/>
    <dgm:cxn modelId="{3BA9EB17-927D-D445-BA5B-B0B501A55F32}" type="presOf" srcId="{E25206B6-99D5-A04D-9764-A37A3A60B289}" destId="{553BAEBD-2A7C-9D45-B38B-473A8DD04E50}" srcOrd="0" destOrd="0" presId="urn:microsoft.com/office/officeart/2005/8/layout/vList5"/>
    <dgm:cxn modelId="{AF27BA7D-3E14-6845-BCA7-7825A20BB60D}" srcId="{02BA0D8E-884F-D545-BFF7-95207C181DAB}" destId="{E25206B6-99D5-A04D-9764-A37A3A60B289}" srcOrd="1" destOrd="0" parTransId="{492A14D1-F5D8-4546-8031-A5968602D4A5}" sibTransId="{FC81C79C-BEC5-5C4F-84B5-98D8CF799B36}"/>
    <dgm:cxn modelId="{B4BA792C-AD9F-774B-8125-3317A5E1953A}" type="presParOf" srcId="{5325FF06-BE85-6742-9495-B8F42BFC9B7F}" destId="{AD2DDD9C-ED27-9C41-987A-29D120BF8411}" srcOrd="0" destOrd="0" presId="urn:microsoft.com/office/officeart/2005/8/layout/vList5"/>
    <dgm:cxn modelId="{CFAB1566-4F1C-EE42-9345-2D356716E085}" type="presParOf" srcId="{AD2DDD9C-ED27-9C41-987A-29D120BF8411}" destId="{460FFA17-0469-9041-A24E-7544AD33BDF9}" srcOrd="0" destOrd="0" presId="urn:microsoft.com/office/officeart/2005/8/layout/vList5"/>
    <dgm:cxn modelId="{8F16CF3D-A222-124B-AE4C-B394AED2F043}" type="presParOf" srcId="{5325FF06-BE85-6742-9495-B8F42BFC9B7F}" destId="{CB97137B-17B9-1045-8021-99308DCA5933}" srcOrd="1" destOrd="0" presId="urn:microsoft.com/office/officeart/2005/8/layout/vList5"/>
    <dgm:cxn modelId="{B9138B9E-BA8D-EF42-94DF-FAD907C174EC}" type="presParOf" srcId="{5325FF06-BE85-6742-9495-B8F42BFC9B7F}" destId="{E399E930-1B18-CE4F-85DC-C27CA9CCD837}" srcOrd="2" destOrd="0" presId="urn:microsoft.com/office/officeart/2005/8/layout/vList5"/>
    <dgm:cxn modelId="{9BA98BB2-4304-EA46-BE35-CB2BAFBFEAA4}" type="presParOf" srcId="{E399E930-1B18-CE4F-85DC-C27CA9CCD837}" destId="{553BAEBD-2A7C-9D45-B38B-473A8DD04E50}"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s </a:t>
          </a:r>
          <a:r>
            <a:rPr lang="en-US" b="1" dirty="0" smtClean="0">
              <a:solidFill>
                <a:schemeClr val="bg1"/>
              </a:solidFill>
            </a:rPr>
            <a:t>9-10</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5CB88DD1-22D4-42B5-A4FE-416A16A7EE1C}" srcId="{44F371D9-EE28-43D3-A86D-541CB7E51DB8}" destId="{C2945230-8A03-49C4-AE11-508590DB7B8B}" srcOrd="0" destOrd="0" parTransId="{FC8924DD-BCE3-491E-AC57-3330F43EE0F3}" sibTransId="{0CE224DD-430C-4167-8C66-F0356FD49815}"/>
    <dgm:cxn modelId="{88EFDB60-1B63-E446-A2FC-1B48C0623B62}" type="presOf" srcId="{44F371D9-EE28-43D3-A86D-541CB7E51DB8}" destId="{834CDD0F-2A72-40E4-9F5C-254C6DC50A0F}" srcOrd="0" destOrd="0" presId="urn:microsoft.com/office/officeart/2005/8/layout/venn1"/>
    <dgm:cxn modelId="{84A8E8D5-4E91-BF45-A84A-E21C1F2194DA}" type="presOf" srcId="{C2945230-8A03-49C4-AE11-508590DB7B8B}" destId="{DDF5C611-4A57-4D32-BF4D-AD972F42154B}" srcOrd="0" destOrd="0" presId="urn:microsoft.com/office/officeart/2005/8/layout/venn1"/>
    <dgm:cxn modelId="{CE3203DA-FD96-A846-9848-6D72DA4D42C0}"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6306B4F0-0BF6-414D-BBDB-4B362D062134}">
      <dgm:prSet/>
      <dgm:spPr/>
      <dgm:t>
        <a:bodyPr/>
        <a:lstStyle/>
        <a:p>
          <a:pPr rtl="0"/>
          <a:r>
            <a:rPr lang="en-CA" dirty="0" smtClean="0"/>
            <a:t>views</a:t>
          </a:r>
          <a:endParaRPr lang="en-CA" dirty="0"/>
        </a:p>
      </dgm:t>
    </dgm:pt>
    <dgm:pt modelId="{63095D2F-B22F-CE4B-A169-B400C8581FF5}" type="parTrans" cxnId="{04D667D6-88F2-9C43-89F5-E31C711C0AE1}">
      <dgm:prSet/>
      <dgm:spPr/>
      <dgm:t>
        <a:bodyPr/>
        <a:lstStyle/>
        <a:p>
          <a:endParaRPr lang="en-CA"/>
        </a:p>
      </dgm:t>
    </dgm:pt>
    <dgm:pt modelId="{F9D809FD-42E8-3C46-AA5B-C0252A438BDB}" type="sibTrans" cxnId="{04D667D6-88F2-9C43-89F5-E31C711C0AE1}">
      <dgm:prSet/>
      <dgm:spPr/>
      <dgm:t>
        <a:bodyPr/>
        <a:lstStyle/>
        <a:p>
          <a:endParaRPr lang="en-CA"/>
        </a:p>
      </dgm:t>
    </dgm:pt>
    <dgm:pt modelId="{E25206B6-99D5-A04D-9764-A37A3A60B289}">
      <dgm:prSet/>
      <dgm:spPr/>
      <dgm:t>
        <a:bodyPr/>
        <a:lstStyle/>
        <a:p>
          <a:pPr rtl="0"/>
          <a:r>
            <a:rPr lang="en-CA" dirty="0" smtClean="0"/>
            <a:t>filters</a:t>
          </a:r>
          <a:endParaRPr lang="en-CA" dirty="0"/>
        </a:p>
      </dgm:t>
    </dgm:pt>
    <dgm:pt modelId="{492A14D1-F5D8-4546-8031-A5968602D4A5}" type="parTrans" cxnId="{AF27BA7D-3E14-6845-BCA7-7825A20BB60D}">
      <dgm:prSet/>
      <dgm:spPr/>
      <dgm:t>
        <a:bodyPr/>
        <a:lstStyle/>
        <a:p>
          <a:endParaRPr lang="en-CA"/>
        </a:p>
      </dgm:t>
    </dgm:pt>
    <dgm:pt modelId="{FC81C79C-BEC5-5C4F-84B5-98D8CF799B36}" type="sibTrans" cxnId="{AF27BA7D-3E14-6845-BCA7-7825A20BB60D}">
      <dgm:prSet/>
      <dgm:spPr/>
      <dgm:t>
        <a:bodyPr/>
        <a:lstStyle/>
        <a:p>
          <a:endParaRPr lang="en-CA"/>
        </a:p>
      </dgm:t>
    </dgm:pt>
    <dgm:pt modelId="{46520877-0134-6543-9B4F-E8373BB12F54}">
      <dgm:prSet/>
      <dgm:spPr/>
      <dgm:t>
        <a:bodyPr/>
        <a:lstStyle/>
        <a:p>
          <a:pPr rtl="0"/>
          <a:r>
            <a:rPr lang="en-CA" dirty="0" smtClean="0"/>
            <a:t>customizable</a:t>
          </a:r>
          <a:endParaRPr lang="en-CA" dirty="0"/>
        </a:p>
      </dgm:t>
    </dgm:pt>
    <dgm:pt modelId="{D3AD3EBB-4011-E344-827F-E9B6F79C30E8}" type="parTrans" cxnId="{FCB19CFF-60D0-374E-942A-56C3B20AE5AC}">
      <dgm:prSet/>
      <dgm:spPr/>
      <dgm:t>
        <a:bodyPr/>
        <a:lstStyle/>
        <a:p>
          <a:endParaRPr lang="en-CA"/>
        </a:p>
      </dgm:t>
    </dgm:pt>
    <dgm:pt modelId="{A32DD11B-45F7-2B46-BDB2-51F22702E210}" type="sibTrans" cxnId="{FCB19CFF-60D0-374E-942A-56C3B20AE5AC}">
      <dgm:prSet/>
      <dgm:spPr/>
      <dgm:t>
        <a:bodyPr/>
        <a:lstStyle/>
        <a:p>
          <a:endParaRPr lang="en-CA"/>
        </a:p>
      </dgm:t>
    </dgm:pt>
    <dgm:pt modelId="{13D5143A-ADF1-A848-80C7-D56B6FAB4B82}">
      <dgm:prSet/>
      <dgm:spPr/>
      <dgm:t>
        <a:bodyPr/>
        <a:lstStyle/>
        <a:p>
          <a:pPr rtl="0"/>
          <a:r>
            <a:rPr lang="en-CA" dirty="0" smtClean="0"/>
            <a:t>pre-set</a:t>
          </a:r>
          <a:endParaRPr lang="en-CA" dirty="0"/>
        </a:p>
      </dgm:t>
    </dgm:pt>
    <dgm:pt modelId="{F0264325-5A88-DA4A-AD10-95F8F4B1D224}" type="parTrans" cxnId="{9E512CE9-EA54-A749-B183-31E054A7BFF6}">
      <dgm:prSet/>
      <dgm:spPr/>
      <dgm:t>
        <a:bodyPr/>
        <a:lstStyle/>
        <a:p>
          <a:endParaRPr lang="en-CA"/>
        </a:p>
      </dgm:t>
    </dgm:pt>
    <dgm:pt modelId="{1265B11C-B98B-304E-9ACB-9271B5073083}" type="sibTrans" cxnId="{9E512CE9-EA54-A749-B183-31E054A7BFF6}">
      <dgm:prSet/>
      <dgm:spPr/>
      <dgm:t>
        <a:bodyPr/>
        <a:lstStyle/>
        <a:p>
          <a:endParaRPr lang="en-CA"/>
        </a:p>
      </dgm:t>
    </dgm:pt>
    <dgm:pt modelId="{6BB9C702-62E6-C342-A2CC-1D344F17F6CB}">
      <dgm:prSet/>
      <dgm:spPr/>
      <dgm:t>
        <a:bodyPr/>
        <a:lstStyle/>
        <a:p>
          <a:pPr rtl="0"/>
          <a:r>
            <a:rPr lang="en-CA" dirty="0" smtClean="0"/>
            <a:t>contact view</a:t>
          </a:r>
          <a:endParaRPr lang="en-CA" dirty="0"/>
        </a:p>
      </dgm:t>
    </dgm:pt>
    <dgm:pt modelId="{A581D306-C99C-214E-B982-DF7EA36B986C}" type="parTrans" cxnId="{F7E13BDB-5479-E943-A36E-5012D22DC2C6}">
      <dgm:prSet/>
      <dgm:spPr/>
      <dgm:t>
        <a:bodyPr/>
        <a:lstStyle/>
        <a:p>
          <a:endParaRPr lang="en-CA"/>
        </a:p>
      </dgm:t>
    </dgm:pt>
    <dgm:pt modelId="{DC61328E-8BC6-134A-AB30-0EDF128B38CC}" type="sibTrans" cxnId="{F7E13BDB-5479-E943-A36E-5012D22DC2C6}">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AD2DDD9C-ED27-9C41-987A-29D120BF8411}" type="pres">
      <dgm:prSet presAssocID="{6306B4F0-0BF6-414D-BBDB-4B362D062134}" presName="linNode" presStyleCnt="0"/>
      <dgm:spPr/>
    </dgm:pt>
    <dgm:pt modelId="{460FFA17-0469-9041-A24E-7544AD33BDF9}" type="pres">
      <dgm:prSet presAssocID="{6306B4F0-0BF6-414D-BBDB-4B362D062134}" presName="parentText" presStyleLbl="node1" presStyleIdx="0" presStyleCnt="2">
        <dgm:presLayoutVars>
          <dgm:chMax val="1"/>
          <dgm:bulletEnabled val="1"/>
        </dgm:presLayoutVars>
      </dgm:prSet>
      <dgm:spPr/>
      <dgm:t>
        <a:bodyPr/>
        <a:lstStyle/>
        <a:p>
          <a:endParaRPr lang="en-CA"/>
        </a:p>
      </dgm:t>
    </dgm:pt>
    <dgm:pt modelId="{F07DEF0E-0882-484E-A190-339049CE4C92}" type="pres">
      <dgm:prSet presAssocID="{6306B4F0-0BF6-414D-BBDB-4B362D062134}" presName="descendantText" presStyleLbl="alignAccFollowNode1" presStyleIdx="0" presStyleCnt="2">
        <dgm:presLayoutVars>
          <dgm:bulletEnabled val="1"/>
        </dgm:presLayoutVars>
      </dgm:prSet>
      <dgm:spPr/>
      <dgm:t>
        <a:bodyPr/>
        <a:lstStyle/>
        <a:p>
          <a:endParaRPr lang="en-CA"/>
        </a:p>
      </dgm:t>
    </dgm:pt>
    <dgm:pt modelId="{CB97137B-17B9-1045-8021-99308DCA5933}" type="pres">
      <dgm:prSet presAssocID="{F9D809FD-42E8-3C46-AA5B-C0252A438BDB}" presName="sp" presStyleCnt="0"/>
      <dgm:spPr/>
    </dgm:pt>
    <dgm:pt modelId="{E399E930-1B18-CE4F-85DC-C27CA9CCD837}" type="pres">
      <dgm:prSet presAssocID="{E25206B6-99D5-A04D-9764-A37A3A60B289}" presName="linNode" presStyleCnt="0"/>
      <dgm:spPr/>
    </dgm:pt>
    <dgm:pt modelId="{553BAEBD-2A7C-9D45-B38B-473A8DD04E50}" type="pres">
      <dgm:prSet presAssocID="{E25206B6-99D5-A04D-9764-A37A3A60B289}" presName="parentText" presStyleLbl="node1" presStyleIdx="1" presStyleCnt="2">
        <dgm:presLayoutVars>
          <dgm:chMax val="1"/>
          <dgm:bulletEnabled val="1"/>
        </dgm:presLayoutVars>
      </dgm:prSet>
      <dgm:spPr/>
      <dgm:t>
        <a:bodyPr/>
        <a:lstStyle/>
        <a:p>
          <a:endParaRPr lang="en-CA"/>
        </a:p>
      </dgm:t>
    </dgm:pt>
    <dgm:pt modelId="{A82A4440-A848-C04A-9EA5-257A39E9F405}" type="pres">
      <dgm:prSet presAssocID="{E25206B6-99D5-A04D-9764-A37A3A60B289}" presName="descendantText" presStyleLbl="alignAccFollowNode1" presStyleIdx="1" presStyleCnt="2">
        <dgm:presLayoutVars>
          <dgm:bulletEnabled val="1"/>
        </dgm:presLayoutVars>
      </dgm:prSet>
      <dgm:spPr/>
      <dgm:t>
        <a:bodyPr/>
        <a:lstStyle/>
        <a:p>
          <a:endParaRPr lang="en-CA"/>
        </a:p>
      </dgm:t>
    </dgm:pt>
  </dgm:ptLst>
  <dgm:cxnLst>
    <dgm:cxn modelId="{076E2654-2AB6-A949-8FB6-BF9F238A989E}" type="presOf" srcId="{46520877-0134-6543-9B4F-E8373BB12F54}" destId="{A82A4440-A848-C04A-9EA5-257A39E9F405}" srcOrd="0" destOrd="1" presId="urn:microsoft.com/office/officeart/2005/8/layout/vList5"/>
    <dgm:cxn modelId="{E5BD1FF2-B846-484E-A956-21A8EB7CBEFD}" type="presOf" srcId="{E25206B6-99D5-A04D-9764-A37A3A60B289}" destId="{553BAEBD-2A7C-9D45-B38B-473A8DD04E50}" srcOrd="0" destOrd="0" presId="urn:microsoft.com/office/officeart/2005/8/layout/vList5"/>
    <dgm:cxn modelId="{37254100-AF42-1C4E-A6B8-96701F958C30}" type="presOf" srcId="{02BA0D8E-884F-D545-BFF7-95207C181DAB}" destId="{5325FF06-BE85-6742-9495-B8F42BFC9B7F}" srcOrd="0" destOrd="0" presId="urn:microsoft.com/office/officeart/2005/8/layout/vList5"/>
    <dgm:cxn modelId="{FCB19CFF-60D0-374E-942A-56C3B20AE5AC}" srcId="{E25206B6-99D5-A04D-9764-A37A3A60B289}" destId="{46520877-0134-6543-9B4F-E8373BB12F54}" srcOrd="1" destOrd="0" parTransId="{D3AD3EBB-4011-E344-827F-E9B6F79C30E8}" sibTransId="{A32DD11B-45F7-2B46-BDB2-51F22702E210}"/>
    <dgm:cxn modelId="{AF27BA7D-3E14-6845-BCA7-7825A20BB60D}" srcId="{02BA0D8E-884F-D545-BFF7-95207C181DAB}" destId="{E25206B6-99D5-A04D-9764-A37A3A60B289}" srcOrd="1" destOrd="0" parTransId="{492A14D1-F5D8-4546-8031-A5968602D4A5}" sibTransId="{FC81C79C-BEC5-5C4F-84B5-98D8CF799B36}"/>
    <dgm:cxn modelId="{F7E13BDB-5479-E943-A36E-5012D22DC2C6}" srcId="{6306B4F0-0BF6-414D-BBDB-4B362D062134}" destId="{6BB9C702-62E6-C342-A2CC-1D344F17F6CB}" srcOrd="0" destOrd="0" parTransId="{A581D306-C99C-214E-B982-DF7EA36B986C}" sibTransId="{DC61328E-8BC6-134A-AB30-0EDF128B38CC}"/>
    <dgm:cxn modelId="{04D667D6-88F2-9C43-89F5-E31C711C0AE1}" srcId="{02BA0D8E-884F-D545-BFF7-95207C181DAB}" destId="{6306B4F0-0BF6-414D-BBDB-4B362D062134}" srcOrd="0" destOrd="0" parTransId="{63095D2F-B22F-CE4B-A169-B400C8581FF5}" sibTransId="{F9D809FD-42E8-3C46-AA5B-C0252A438BDB}"/>
    <dgm:cxn modelId="{9E512CE9-EA54-A749-B183-31E054A7BFF6}" srcId="{E25206B6-99D5-A04D-9764-A37A3A60B289}" destId="{13D5143A-ADF1-A848-80C7-D56B6FAB4B82}" srcOrd="0" destOrd="0" parTransId="{F0264325-5A88-DA4A-AD10-95F8F4B1D224}" sibTransId="{1265B11C-B98B-304E-9ACB-9271B5073083}"/>
    <dgm:cxn modelId="{59E05E4A-FDC4-3C4A-A805-619F3FE773FE}" type="presOf" srcId="{6BB9C702-62E6-C342-A2CC-1D344F17F6CB}" destId="{F07DEF0E-0882-484E-A190-339049CE4C92}" srcOrd="0" destOrd="0" presId="urn:microsoft.com/office/officeart/2005/8/layout/vList5"/>
    <dgm:cxn modelId="{0D41402B-0D4F-C349-B751-67D29407A0DA}" type="presOf" srcId="{13D5143A-ADF1-A848-80C7-D56B6FAB4B82}" destId="{A82A4440-A848-C04A-9EA5-257A39E9F405}" srcOrd="0" destOrd="0" presId="urn:microsoft.com/office/officeart/2005/8/layout/vList5"/>
    <dgm:cxn modelId="{7C601E3A-5F7B-0A49-ABC5-56CA69B6C1DB}" type="presOf" srcId="{6306B4F0-0BF6-414D-BBDB-4B362D062134}" destId="{460FFA17-0469-9041-A24E-7544AD33BDF9}" srcOrd="0" destOrd="0" presId="urn:microsoft.com/office/officeart/2005/8/layout/vList5"/>
    <dgm:cxn modelId="{B0A5BA3C-2394-634E-9B26-744448184B0F}" type="presParOf" srcId="{5325FF06-BE85-6742-9495-B8F42BFC9B7F}" destId="{AD2DDD9C-ED27-9C41-987A-29D120BF8411}" srcOrd="0" destOrd="0" presId="urn:microsoft.com/office/officeart/2005/8/layout/vList5"/>
    <dgm:cxn modelId="{DC0FF577-9FC9-D243-AAC2-B4784EF6DD0E}" type="presParOf" srcId="{AD2DDD9C-ED27-9C41-987A-29D120BF8411}" destId="{460FFA17-0469-9041-A24E-7544AD33BDF9}" srcOrd="0" destOrd="0" presId="urn:microsoft.com/office/officeart/2005/8/layout/vList5"/>
    <dgm:cxn modelId="{47A91E44-0AE1-3C4A-BAB4-71BD59C74C61}" type="presParOf" srcId="{AD2DDD9C-ED27-9C41-987A-29D120BF8411}" destId="{F07DEF0E-0882-484E-A190-339049CE4C92}" srcOrd="1" destOrd="0" presId="urn:microsoft.com/office/officeart/2005/8/layout/vList5"/>
    <dgm:cxn modelId="{80074116-88D6-BF4F-BE7C-81F04A746AC6}" type="presParOf" srcId="{5325FF06-BE85-6742-9495-B8F42BFC9B7F}" destId="{CB97137B-17B9-1045-8021-99308DCA5933}" srcOrd="1" destOrd="0" presId="urn:microsoft.com/office/officeart/2005/8/layout/vList5"/>
    <dgm:cxn modelId="{B9C0A7AE-87D8-514E-976F-79EA443B14C4}" type="presParOf" srcId="{5325FF06-BE85-6742-9495-B8F42BFC9B7F}" destId="{E399E930-1B18-CE4F-85DC-C27CA9CCD837}" srcOrd="2" destOrd="0" presId="urn:microsoft.com/office/officeart/2005/8/layout/vList5"/>
    <dgm:cxn modelId="{D16ED412-0E4C-A440-A1EB-F5AD684F06D0}" type="presParOf" srcId="{E399E930-1B18-CE4F-85DC-C27CA9CCD837}" destId="{553BAEBD-2A7C-9D45-B38B-473A8DD04E50}" srcOrd="0" destOrd="0" presId="urn:microsoft.com/office/officeart/2005/8/layout/vList5"/>
    <dgm:cxn modelId="{30946DDD-2570-9F42-878B-D231459E297D}" type="presParOf" srcId="{E399E930-1B18-CE4F-85DC-C27CA9CCD837}" destId="{A82A4440-A848-C04A-9EA5-257A39E9F405}"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s </a:t>
          </a:r>
          <a:r>
            <a:rPr lang="en-US" b="1" dirty="0" smtClean="0">
              <a:solidFill>
                <a:schemeClr val="bg1"/>
              </a:solidFill>
            </a:rPr>
            <a:t>10-12</a:t>
          </a:r>
          <a:endParaRPr lang="en-US" b="1" dirty="0">
            <a:solidFill>
              <a:schemeClr val="bg1"/>
            </a:solidFill>
          </a:endParaRP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t>
        <a:bodyPr/>
        <a:lstStyle/>
        <a:p>
          <a:endParaRPr lang="en-CA"/>
        </a:p>
      </dgm:t>
    </dgm:pt>
    <dgm:pt modelId="{DDF5C611-4A57-4D32-BF4D-AD972F42154B}" type="pres">
      <dgm:prSet presAssocID="{C2945230-8A03-49C4-AE11-508590DB7B8B}" presName="circ1TxSh" presStyleLbl="vennNode1" presStyleIdx="0" presStyleCnt="1"/>
      <dgm:spPr/>
      <dgm:t>
        <a:bodyPr/>
        <a:lstStyle/>
        <a:p>
          <a:endParaRPr lang="en-CA"/>
        </a:p>
      </dgm:t>
    </dgm:pt>
  </dgm:ptLst>
  <dgm:cxnLst>
    <dgm:cxn modelId="{BCF3CBA6-6810-CE4C-98DB-1E3CAF589C81}"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54F1E9AC-58FB-AD4E-996A-554E44261094}" type="presOf" srcId="{C2945230-8A03-49C4-AE11-508590DB7B8B}" destId="{DDF5C611-4A57-4D32-BF4D-AD972F42154B}" srcOrd="0" destOrd="0" presId="urn:microsoft.com/office/officeart/2005/8/layout/venn1"/>
    <dgm:cxn modelId="{D020685A-FD90-884D-9C50-630CDF558CC1}"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B25C73-5C82-454A-AF23-58BAC3E61242}">
      <dsp:nvSpPr>
        <dsp:cNvPr id="0" name=""/>
        <dsp:cNvSpPr/>
      </dsp:nvSpPr>
      <dsp:spPr>
        <a:xfrm rot="5400000">
          <a:off x="3156736" y="509448"/>
          <a:ext cx="2997294" cy="2727721"/>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8110" tIns="59055" rIns="118110" bIns="59055" numCol="1" spcCol="1270" anchor="ctr" anchorCtr="0">
          <a:noAutofit/>
        </a:bodyPr>
        <a:lstStyle/>
        <a:p>
          <a:pPr marL="285750" lvl="1" indent="-285750" algn="l" defTabSz="1377950" rtl="0">
            <a:lnSpc>
              <a:spcPct val="90000"/>
            </a:lnSpc>
            <a:spcBef>
              <a:spcPct val="0"/>
            </a:spcBef>
            <a:spcAft>
              <a:spcPct val="15000"/>
            </a:spcAft>
            <a:buChar char="••"/>
          </a:pPr>
          <a:r>
            <a:rPr lang="en-CA" sz="3100" kern="1200" dirty="0" smtClean="0"/>
            <a:t>All about Client Explorer</a:t>
          </a:r>
          <a:endParaRPr lang="en-CA" sz="3100" kern="1200" dirty="0"/>
        </a:p>
        <a:p>
          <a:pPr marL="285750" lvl="1" indent="-285750" algn="l" defTabSz="1377950" rtl="0">
            <a:lnSpc>
              <a:spcPct val="90000"/>
            </a:lnSpc>
            <a:spcBef>
              <a:spcPct val="0"/>
            </a:spcBef>
            <a:spcAft>
              <a:spcPct val="15000"/>
            </a:spcAft>
            <a:buChar char="••"/>
          </a:pPr>
          <a:r>
            <a:rPr lang="en-CA" sz="3100" kern="1200" dirty="0" smtClean="0"/>
            <a:t>The Basics</a:t>
          </a:r>
          <a:endParaRPr lang="en-CA" sz="3100" kern="1200" dirty="0"/>
        </a:p>
        <a:p>
          <a:pPr marL="285750" lvl="1" indent="-285750" algn="l" defTabSz="1377950" rtl="0">
            <a:lnSpc>
              <a:spcPct val="90000"/>
            </a:lnSpc>
            <a:spcBef>
              <a:spcPct val="0"/>
            </a:spcBef>
            <a:spcAft>
              <a:spcPct val="15000"/>
            </a:spcAft>
            <a:buChar char="••"/>
          </a:pPr>
          <a:r>
            <a:rPr lang="en-CA" sz="3100" kern="1200" dirty="0" smtClean="0"/>
            <a:t>Advanced tools</a:t>
          </a:r>
          <a:endParaRPr lang="en-CA" sz="3100" kern="1200" dirty="0"/>
        </a:p>
      </dsp:txBody>
      <dsp:txXfrm rot="-5400000">
        <a:off x="3291522" y="507818"/>
        <a:ext cx="2594565" cy="2730982"/>
      </dsp:txXfrm>
    </dsp:sp>
    <dsp:sp modelId="{43DEFE45-1517-3942-920E-48C520E9C0B4}">
      <dsp:nvSpPr>
        <dsp:cNvPr id="0" name=""/>
        <dsp:cNvSpPr/>
      </dsp:nvSpPr>
      <dsp:spPr>
        <a:xfrm>
          <a:off x="555" y="0"/>
          <a:ext cx="3290967" cy="374661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3360" tIns="106680" rIns="213360" bIns="106680" numCol="1" spcCol="1270" anchor="ctr" anchorCtr="0">
          <a:noAutofit/>
        </a:bodyPr>
        <a:lstStyle/>
        <a:p>
          <a:pPr lvl="0" algn="ctr" defTabSz="2489200" rtl="0">
            <a:lnSpc>
              <a:spcPct val="90000"/>
            </a:lnSpc>
            <a:spcBef>
              <a:spcPct val="0"/>
            </a:spcBef>
            <a:spcAft>
              <a:spcPct val="35000"/>
            </a:spcAft>
          </a:pPr>
          <a:r>
            <a:rPr lang="en-CA" sz="5600" kern="1200" dirty="0" smtClean="0"/>
            <a:t>In this Chapter</a:t>
          </a:r>
        </a:p>
      </dsp:txBody>
      <dsp:txXfrm>
        <a:off x="161207" y="160652"/>
        <a:ext cx="2969663" cy="342531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98C3C4-2129-4E0D-BAAD-A374A69E54E8}">
      <dsp:nvSpPr>
        <dsp:cNvPr id="0" name=""/>
        <dsp:cNvSpPr/>
      </dsp:nvSpPr>
      <dsp:spPr>
        <a:xfrm rot="5400000">
          <a:off x="1582440" y="-443359"/>
          <a:ext cx="773132" cy="1853183"/>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rtl="0">
            <a:lnSpc>
              <a:spcPct val="90000"/>
            </a:lnSpc>
            <a:spcBef>
              <a:spcPct val="0"/>
            </a:spcBef>
            <a:spcAft>
              <a:spcPct val="15000"/>
            </a:spcAft>
            <a:buChar char="••"/>
          </a:pPr>
          <a:r>
            <a:rPr lang="en-CA" sz="2300" kern="1200" dirty="0" smtClean="0"/>
            <a:t>find files</a:t>
          </a:r>
          <a:endParaRPr lang="en-CA" sz="2300" kern="1200" dirty="0"/>
        </a:p>
      </dsp:txBody>
      <dsp:txXfrm rot="-5400000">
        <a:off x="1042415" y="134407"/>
        <a:ext cx="1815442" cy="697650"/>
      </dsp:txXfrm>
    </dsp:sp>
    <dsp:sp modelId="{8D66BF5E-B926-4C4A-8D4E-AABB29BE7CEF}">
      <dsp:nvSpPr>
        <dsp:cNvPr id="0" name=""/>
        <dsp:cNvSpPr/>
      </dsp:nvSpPr>
      <dsp:spPr>
        <a:xfrm>
          <a:off x="0" y="24"/>
          <a:ext cx="1042415" cy="96641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a:t>search</a:t>
          </a:r>
          <a:endParaRPr lang="en-CA" sz="2000" kern="1200" dirty="0"/>
        </a:p>
      </dsp:txBody>
      <dsp:txXfrm>
        <a:off x="47176" y="47200"/>
        <a:ext cx="948063" cy="872063"/>
      </dsp:txXfrm>
    </dsp:sp>
    <dsp:sp modelId="{D8A07D5A-0002-4C5E-904C-382490F3B738}">
      <dsp:nvSpPr>
        <dsp:cNvPr id="0" name=""/>
        <dsp:cNvSpPr/>
      </dsp:nvSpPr>
      <dsp:spPr>
        <a:xfrm rot="5400000">
          <a:off x="1582440" y="571377"/>
          <a:ext cx="773132" cy="1853183"/>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rtl="0">
            <a:lnSpc>
              <a:spcPct val="90000"/>
            </a:lnSpc>
            <a:spcBef>
              <a:spcPct val="0"/>
            </a:spcBef>
            <a:spcAft>
              <a:spcPct val="15000"/>
            </a:spcAft>
            <a:buChar char="••"/>
          </a:pPr>
          <a:r>
            <a:rPr lang="en-CA" sz="2300" kern="1200" dirty="0" smtClean="0"/>
            <a:t>more menus</a:t>
          </a:r>
          <a:endParaRPr lang="en-CA" sz="2300" kern="1200" dirty="0"/>
        </a:p>
      </dsp:txBody>
      <dsp:txXfrm rot="-5400000">
        <a:off x="1042415" y="1149144"/>
        <a:ext cx="1815442" cy="697650"/>
      </dsp:txXfrm>
    </dsp:sp>
    <dsp:sp modelId="{45CAAED1-62CB-4ACB-A7AB-F0638EB0DEF1}">
      <dsp:nvSpPr>
        <dsp:cNvPr id="0" name=""/>
        <dsp:cNvSpPr/>
      </dsp:nvSpPr>
      <dsp:spPr>
        <a:xfrm>
          <a:off x="0" y="1014760"/>
          <a:ext cx="1042415" cy="96641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right-click</a:t>
          </a:r>
        </a:p>
      </dsp:txBody>
      <dsp:txXfrm>
        <a:off x="47176" y="1061936"/>
        <a:ext cx="948063" cy="87206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2600" b="1" kern="1200" dirty="0" smtClean="0">
              <a:solidFill>
                <a:schemeClr val="bg1"/>
              </a:solidFill>
            </a:rPr>
            <a:t>Page</a:t>
          </a:r>
        </a:p>
        <a:p>
          <a:pPr lvl="0" algn="ctr" defTabSz="1155700">
            <a:lnSpc>
              <a:spcPct val="90000"/>
            </a:lnSpc>
            <a:spcBef>
              <a:spcPct val="0"/>
            </a:spcBef>
            <a:spcAft>
              <a:spcPct val="35000"/>
            </a:spcAft>
          </a:pPr>
          <a:r>
            <a:rPr lang="en-US" sz="2600" b="1" kern="1200" dirty="0" smtClean="0">
              <a:solidFill>
                <a:schemeClr val="bg1"/>
              </a:solidFill>
            </a:rPr>
            <a:t>12-13</a:t>
          </a:r>
          <a:endParaRPr lang="en-US" sz="2600" b="1" kern="1200" dirty="0">
            <a:solidFill>
              <a:schemeClr val="bg1"/>
            </a:solidFill>
          </a:endParaRPr>
        </a:p>
      </dsp:txBody>
      <dsp:txXfrm>
        <a:off x="179383" y="198196"/>
        <a:ext cx="866141" cy="86614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121663" y="35"/>
          <a:ext cx="1261872" cy="140346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lvl="0" algn="ctr" defTabSz="800100" rtl="0">
            <a:lnSpc>
              <a:spcPct val="90000"/>
            </a:lnSpc>
            <a:spcBef>
              <a:spcPct val="0"/>
            </a:spcBef>
            <a:spcAft>
              <a:spcPct val="35000"/>
            </a:spcAft>
          </a:pPr>
          <a:r>
            <a:rPr lang="en-CA" sz="1800" kern="1200" dirty="0"/>
            <a:t>EFILE</a:t>
          </a:r>
        </a:p>
      </dsp:txBody>
      <dsp:txXfrm>
        <a:off x="1183263" y="61635"/>
        <a:ext cx="1138672" cy="1280267"/>
      </dsp:txXfrm>
    </dsp:sp>
    <dsp:sp modelId="{460FFA17-0469-9041-A24E-7544AD33BDF9}">
      <dsp:nvSpPr>
        <dsp:cNvPr id="0" name=""/>
        <dsp:cNvSpPr/>
      </dsp:nvSpPr>
      <dsp:spPr>
        <a:xfrm>
          <a:off x="1121663" y="1473675"/>
          <a:ext cx="1261872" cy="140346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lvl="0" algn="ctr" defTabSz="800100" rtl="0">
            <a:lnSpc>
              <a:spcPct val="90000"/>
            </a:lnSpc>
            <a:spcBef>
              <a:spcPct val="0"/>
            </a:spcBef>
            <a:spcAft>
              <a:spcPct val="35000"/>
            </a:spcAft>
          </a:pPr>
          <a:r>
            <a:rPr lang="en-CA" sz="1800" kern="1200" dirty="0"/>
            <a:t>Exporting</a:t>
          </a:r>
        </a:p>
      </dsp:txBody>
      <dsp:txXfrm>
        <a:off x="1183263" y="1535275"/>
        <a:ext cx="1138672" cy="128026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en-US" sz="2300" b="1" kern="1200" dirty="0">
              <a:solidFill>
                <a:schemeClr val="bg1"/>
              </a:solidFill>
            </a:rPr>
            <a:t>Pages </a:t>
          </a:r>
          <a:r>
            <a:rPr lang="en-US" sz="2300" b="1" kern="1200" dirty="0" smtClean="0">
              <a:solidFill>
                <a:schemeClr val="bg1"/>
              </a:solidFill>
            </a:rPr>
            <a:t>14-20</a:t>
          </a:r>
          <a:endParaRPr lang="en-US" sz="2300" b="1" kern="1200" dirty="0">
            <a:solidFill>
              <a:schemeClr val="bg1"/>
            </a:solidFill>
          </a:endParaRPr>
        </a:p>
      </dsp:txBody>
      <dsp:txXfrm>
        <a:off x="179383" y="198196"/>
        <a:ext cx="866141" cy="86614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755648" y="34"/>
          <a:ext cx="1975104" cy="137374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68580" rIns="137160" bIns="68580" numCol="1" spcCol="1270" anchor="ctr" anchorCtr="0">
          <a:noAutofit/>
        </a:bodyPr>
        <a:lstStyle/>
        <a:p>
          <a:pPr lvl="0" algn="ctr" defTabSz="1600200" rtl="0">
            <a:lnSpc>
              <a:spcPct val="90000"/>
            </a:lnSpc>
            <a:spcBef>
              <a:spcPct val="0"/>
            </a:spcBef>
            <a:spcAft>
              <a:spcPct val="35000"/>
            </a:spcAft>
          </a:pPr>
          <a:r>
            <a:rPr lang="en-CA" sz="3600" kern="1200" dirty="0" smtClean="0"/>
            <a:t>printing reports</a:t>
          </a:r>
          <a:endParaRPr lang="en-CA" sz="3600" kern="1200" dirty="0"/>
        </a:p>
      </dsp:txBody>
      <dsp:txXfrm>
        <a:off x="1822709" y="67095"/>
        <a:ext cx="1840982" cy="1239622"/>
      </dsp:txXfrm>
    </dsp:sp>
    <dsp:sp modelId="{3BFCD27B-6D41-194D-99B3-49A7CFDADFEF}">
      <dsp:nvSpPr>
        <dsp:cNvPr id="0" name=""/>
        <dsp:cNvSpPr/>
      </dsp:nvSpPr>
      <dsp:spPr>
        <a:xfrm>
          <a:off x="1755648" y="1442465"/>
          <a:ext cx="1975104" cy="137374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63830" tIns="81915" rIns="163830" bIns="81915" numCol="1" spcCol="1270" anchor="ctr" anchorCtr="0">
          <a:noAutofit/>
        </a:bodyPr>
        <a:lstStyle/>
        <a:p>
          <a:pPr lvl="0" algn="ctr" defTabSz="1911350" rtl="0">
            <a:lnSpc>
              <a:spcPct val="90000"/>
            </a:lnSpc>
            <a:spcBef>
              <a:spcPct val="0"/>
            </a:spcBef>
            <a:spcAft>
              <a:spcPct val="35000"/>
            </a:spcAft>
          </a:pPr>
          <a:r>
            <a:rPr lang="en-CA" sz="4300" kern="1200" dirty="0" smtClean="0"/>
            <a:t>labels</a:t>
          </a:r>
          <a:endParaRPr lang="en-CA" sz="4300" kern="1200" dirty="0"/>
        </a:p>
      </dsp:txBody>
      <dsp:txXfrm>
        <a:off x="1822709" y="1509526"/>
        <a:ext cx="1840982" cy="123962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en-US" sz="2300" b="1" kern="1200" dirty="0">
              <a:solidFill>
                <a:schemeClr val="bg1"/>
              </a:solidFill>
            </a:rPr>
            <a:t>Pages </a:t>
          </a:r>
          <a:r>
            <a:rPr lang="en-US" sz="2300" b="1" kern="1200" dirty="0" smtClean="0">
              <a:solidFill>
                <a:schemeClr val="bg1"/>
              </a:solidFill>
            </a:rPr>
            <a:t>20-27</a:t>
          </a:r>
          <a:endParaRPr lang="en-US" sz="2300" b="1" kern="1200" dirty="0">
            <a:solidFill>
              <a:schemeClr val="bg1"/>
            </a:solidFill>
          </a:endParaRPr>
        </a:p>
      </dsp:txBody>
      <dsp:txXfrm>
        <a:off x="179383" y="198196"/>
        <a:ext cx="866141" cy="8661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245167" y="1317"/>
          <a:ext cx="1400812" cy="86923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lvl="0" algn="ctr" defTabSz="755650" rtl="0">
            <a:lnSpc>
              <a:spcPct val="90000"/>
            </a:lnSpc>
            <a:spcBef>
              <a:spcPct val="0"/>
            </a:spcBef>
            <a:spcAft>
              <a:spcPct val="35000"/>
            </a:spcAft>
          </a:pPr>
          <a:r>
            <a:rPr lang="en-CA" sz="1700" kern="1200" dirty="0"/>
            <a:t>setting up</a:t>
          </a:r>
        </a:p>
      </dsp:txBody>
      <dsp:txXfrm>
        <a:off x="1287600" y="43750"/>
        <a:ext cx="1315946" cy="784369"/>
      </dsp:txXfrm>
    </dsp:sp>
    <dsp:sp modelId="{FC047F10-BC50-8D4A-864A-9DDCFB415517}">
      <dsp:nvSpPr>
        <dsp:cNvPr id="0" name=""/>
        <dsp:cNvSpPr/>
      </dsp:nvSpPr>
      <dsp:spPr>
        <a:xfrm>
          <a:off x="1245167" y="914013"/>
          <a:ext cx="1400812" cy="86923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lvl="0" algn="ctr" defTabSz="755650" rtl="0">
            <a:lnSpc>
              <a:spcPct val="90000"/>
            </a:lnSpc>
            <a:spcBef>
              <a:spcPct val="0"/>
            </a:spcBef>
            <a:spcAft>
              <a:spcPct val="35000"/>
            </a:spcAft>
          </a:pPr>
          <a:r>
            <a:rPr lang="en-CA" sz="1700" kern="1200" dirty="0" smtClean="0"/>
            <a:t>sole practitioner</a:t>
          </a:r>
          <a:endParaRPr lang="en-CA" sz="1700" kern="1200" dirty="0"/>
        </a:p>
      </dsp:txBody>
      <dsp:txXfrm>
        <a:off x="1287600" y="956446"/>
        <a:ext cx="1315946" cy="784369"/>
      </dsp:txXfrm>
    </dsp:sp>
    <dsp:sp modelId="{205A893D-F4D8-BD41-9F40-33CD5BC976DC}">
      <dsp:nvSpPr>
        <dsp:cNvPr id="0" name=""/>
        <dsp:cNvSpPr/>
      </dsp:nvSpPr>
      <dsp:spPr>
        <a:xfrm>
          <a:off x="1245167" y="1826710"/>
          <a:ext cx="1400812" cy="86923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lvl="0" algn="ctr" defTabSz="755650" rtl="0">
            <a:lnSpc>
              <a:spcPct val="90000"/>
            </a:lnSpc>
            <a:spcBef>
              <a:spcPct val="0"/>
            </a:spcBef>
            <a:spcAft>
              <a:spcPct val="35000"/>
            </a:spcAft>
          </a:pPr>
          <a:r>
            <a:rPr lang="en-CA" sz="1700" kern="1200" dirty="0" smtClean="0"/>
            <a:t>shared database</a:t>
          </a:r>
          <a:endParaRPr lang="en-CA" sz="1700" kern="1200" dirty="0"/>
        </a:p>
      </dsp:txBody>
      <dsp:txXfrm>
        <a:off x="1287600" y="1869143"/>
        <a:ext cx="1315946" cy="78436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en-US" sz="2300" b="1" kern="1200" dirty="0">
              <a:solidFill>
                <a:schemeClr val="bg1"/>
              </a:solidFill>
            </a:rPr>
            <a:t>Pages </a:t>
          </a:r>
          <a:r>
            <a:rPr lang="en-US" sz="2300" b="1" kern="1200" dirty="0" smtClean="0">
              <a:solidFill>
                <a:schemeClr val="bg1"/>
              </a:solidFill>
            </a:rPr>
            <a:t>7-9</a:t>
          </a:r>
          <a:endParaRPr lang="en-US" sz="2300" b="1" kern="1200" dirty="0">
            <a:solidFill>
              <a:schemeClr val="bg1"/>
            </a:solidFill>
          </a:endParaRPr>
        </a:p>
      </dsp:txBody>
      <dsp:txXfrm>
        <a:off x="179383" y="198196"/>
        <a:ext cx="866141" cy="86614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6258FA-4D7E-4D9D-9B3C-57EC9DAA00CA}">
      <dsp:nvSpPr>
        <dsp:cNvPr id="0" name=""/>
        <dsp:cNvSpPr/>
      </dsp:nvSpPr>
      <dsp:spPr>
        <a:xfrm rot="5400000">
          <a:off x="2322231" y="-920108"/>
          <a:ext cx="440233" cy="2392798"/>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rtl="0">
            <a:lnSpc>
              <a:spcPct val="90000"/>
            </a:lnSpc>
            <a:spcBef>
              <a:spcPct val="0"/>
            </a:spcBef>
            <a:spcAft>
              <a:spcPct val="15000"/>
            </a:spcAft>
            <a:buChar char="••"/>
          </a:pPr>
          <a:r>
            <a:rPr lang="en-CA" sz="2300" kern="1200" dirty="0"/>
            <a:t>page 37</a:t>
          </a:r>
        </a:p>
      </dsp:txBody>
      <dsp:txXfrm rot="-5400000">
        <a:off x="1345949" y="77664"/>
        <a:ext cx="2371308" cy="397253"/>
      </dsp:txXfrm>
    </dsp:sp>
    <dsp:sp modelId="{43DEFE45-1517-3942-920E-48C520E9C0B4}">
      <dsp:nvSpPr>
        <dsp:cNvPr id="0" name=""/>
        <dsp:cNvSpPr/>
      </dsp:nvSpPr>
      <dsp:spPr>
        <a:xfrm>
          <a:off x="0" y="1144"/>
          <a:ext cx="1345948" cy="55029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setting up</a:t>
          </a:r>
        </a:p>
      </dsp:txBody>
      <dsp:txXfrm>
        <a:off x="26863" y="28007"/>
        <a:ext cx="1292222" cy="496566"/>
      </dsp:txXfrm>
    </dsp:sp>
    <dsp:sp modelId="{F07DEF0E-0882-484E-A190-339049CE4C92}">
      <dsp:nvSpPr>
        <dsp:cNvPr id="0" name=""/>
        <dsp:cNvSpPr/>
      </dsp:nvSpPr>
      <dsp:spPr>
        <a:xfrm rot="5400000">
          <a:off x="2322231" y="-342301"/>
          <a:ext cx="440233" cy="2392798"/>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rtl="0">
            <a:lnSpc>
              <a:spcPct val="90000"/>
            </a:lnSpc>
            <a:spcBef>
              <a:spcPct val="0"/>
            </a:spcBef>
            <a:spcAft>
              <a:spcPct val="15000"/>
            </a:spcAft>
            <a:buChar char="••"/>
          </a:pPr>
          <a:r>
            <a:rPr lang="en-CA" sz="2300" kern="1200" dirty="0"/>
            <a:t>page 41</a:t>
          </a:r>
        </a:p>
      </dsp:txBody>
      <dsp:txXfrm rot="-5400000">
        <a:off x="1345949" y="655471"/>
        <a:ext cx="2371308" cy="397253"/>
      </dsp:txXfrm>
    </dsp:sp>
    <dsp:sp modelId="{460FFA17-0469-9041-A24E-7544AD33BDF9}">
      <dsp:nvSpPr>
        <dsp:cNvPr id="0" name=""/>
        <dsp:cNvSpPr/>
      </dsp:nvSpPr>
      <dsp:spPr>
        <a:xfrm>
          <a:off x="0" y="578950"/>
          <a:ext cx="1345948" cy="55029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indexing</a:t>
          </a:r>
        </a:p>
      </dsp:txBody>
      <dsp:txXfrm>
        <a:off x="26863" y="605813"/>
        <a:ext cx="1292222" cy="496566"/>
      </dsp:txXfrm>
    </dsp:sp>
    <dsp:sp modelId="{505FF0DA-91C6-4528-BE8D-7D4A4A4CED09}">
      <dsp:nvSpPr>
        <dsp:cNvPr id="0" name=""/>
        <dsp:cNvSpPr/>
      </dsp:nvSpPr>
      <dsp:spPr>
        <a:xfrm rot="5400000">
          <a:off x="2322231" y="235504"/>
          <a:ext cx="440233" cy="2392798"/>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rtl="0">
            <a:lnSpc>
              <a:spcPct val="90000"/>
            </a:lnSpc>
            <a:spcBef>
              <a:spcPct val="0"/>
            </a:spcBef>
            <a:spcAft>
              <a:spcPct val="15000"/>
            </a:spcAft>
            <a:buChar char="••"/>
          </a:pPr>
          <a:r>
            <a:rPr lang="en-CA" sz="2300" kern="1200" dirty="0"/>
            <a:t>page 42</a:t>
          </a:r>
        </a:p>
      </dsp:txBody>
      <dsp:txXfrm rot="-5400000">
        <a:off x="1345949" y="1233276"/>
        <a:ext cx="2371308" cy="397253"/>
      </dsp:txXfrm>
    </dsp:sp>
    <dsp:sp modelId="{64DA235F-5C58-0240-8B02-6F606EB39216}">
      <dsp:nvSpPr>
        <dsp:cNvPr id="0" name=""/>
        <dsp:cNvSpPr/>
      </dsp:nvSpPr>
      <dsp:spPr>
        <a:xfrm>
          <a:off x="0" y="1156757"/>
          <a:ext cx="1345948" cy="55029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views</a:t>
          </a:r>
        </a:p>
      </dsp:txBody>
      <dsp:txXfrm>
        <a:off x="26863" y="1183620"/>
        <a:ext cx="1292222" cy="496566"/>
      </dsp:txXfrm>
    </dsp:sp>
    <dsp:sp modelId="{C59A2883-B707-4CB7-8A16-838E8CBAD4C7}">
      <dsp:nvSpPr>
        <dsp:cNvPr id="0" name=""/>
        <dsp:cNvSpPr/>
      </dsp:nvSpPr>
      <dsp:spPr>
        <a:xfrm rot="5400000">
          <a:off x="2322231" y="813311"/>
          <a:ext cx="440233" cy="2392798"/>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rtl="0">
            <a:lnSpc>
              <a:spcPct val="90000"/>
            </a:lnSpc>
            <a:spcBef>
              <a:spcPct val="0"/>
            </a:spcBef>
            <a:spcAft>
              <a:spcPct val="15000"/>
            </a:spcAft>
            <a:buChar char="••"/>
          </a:pPr>
          <a:r>
            <a:rPr lang="en-CA" sz="2300" kern="1200" dirty="0"/>
            <a:t>page 43</a:t>
          </a:r>
        </a:p>
      </dsp:txBody>
      <dsp:txXfrm rot="-5400000">
        <a:off x="1345949" y="1811083"/>
        <a:ext cx="2371308" cy="397253"/>
      </dsp:txXfrm>
    </dsp:sp>
    <dsp:sp modelId="{3BFCD27B-6D41-194D-99B3-49A7CFDADFEF}">
      <dsp:nvSpPr>
        <dsp:cNvPr id="0" name=""/>
        <dsp:cNvSpPr/>
      </dsp:nvSpPr>
      <dsp:spPr>
        <a:xfrm>
          <a:off x="0" y="1734564"/>
          <a:ext cx="1345948" cy="55029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a:t>filters</a:t>
          </a:r>
        </a:p>
      </dsp:txBody>
      <dsp:txXfrm>
        <a:off x="26863" y="1761427"/>
        <a:ext cx="1292222" cy="49656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en-US" sz="2300" b="1" kern="1200" dirty="0">
              <a:solidFill>
                <a:schemeClr val="bg1"/>
              </a:solidFill>
            </a:rPr>
            <a:t>Pages 37-43</a:t>
          </a:r>
        </a:p>
      </dsp:txBody>
      <dsp:txXfrm>
        <a:off x="179383" y="198196"/>
        <a:ext cx="866141" cy="86614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0FFA17-0469-9041-A24E-7544AD33BDF9}">
      <dsp:nvSpPr>
        <dsp:cNvPr id="0" name=""/>
        <dsp:cNvSpPr/>
      </dsp:nvSpPr>
      <dsp:spPr>
        <a:xfrm>
          <a:off x="1196399" y="27"/>
          <a:ext cx="1345948" cy="111509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41910" rIns="83820" bIns="41910" numCol="1" spcCol="1270" anchor="ctr" anchorCtr="0">
          <a:noAutofit/>
        </a:bodyPr>
        <a:lstStyle/>
        <a:p>
          <a:pPr lvl="0" algn="ctr" defTabSz="977900" rtl="0">
            <a:lnSpc>
              <a:spcPct val="90000"/>
            </a:lnSpc>
            <a:spcBef>
              <a:spcPct val="0"/>
            </a:spcBef>
            <a:spcAft>
              <a:spcPct val="35000"/>
            </a:spcAft>
          </a:pPr>
          <a:r>
            <a:rPr lang="en-CA" sz="2200" kern="1200" dirty="0"/>
            <a:t>indexing</a:t>
          </a:r>
        </a:p>
      </dsp:txBody>
      <dsp:txXfrm>
        <a:off x="1250833" y="54461"/>
        <a:ext cx="1237080" cy="1006227"/>
      </dsp:txXfrm>
    </dsp:sp>
    <dsp:sp modelId="{553BAEBD-2A7C-9D45-B38B-473A8DD04E50}">
      <dsp:nvSpPr>
        <dsp:cNvPr id="0" name=""/>
        <dsp:cNvSpPr/>
      </dsp:nvSpPr>
      <dsp:spPr>
        <a:xfrm>
          <a:off x="1196399" y="1170877"/>
          <a:ext cx="1345948" cy="111509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41910" rIns="83820" bIns="41910" numCol="1" spcCol="1270" anchor="ctr" anchorCtr="0">
          <a:noAutofit/>
        </a:bodyPr>
        <a:lstStyle/>
        <a:p>
          <a:pPr lvl="0" algn="ctr" defTabSz="977900" rtl="0">
            <a:lnSpc>
              <a:spcPct val="90000"/>
            </a:lnSpc>
            <a:spcBef>
              <a:spcPct val="0"/>
            </a:spcBef>
            <a:spcAft>
              <a:spcPct val="35000"/>
            </a:spcAft>
          </a:pPr>
          <a:r>
            <a:rPr lang="en-CA" sz="2200" kern="1200" dirty="0" smtClean="0"/>
            <a:t>first-time use only</a:t>
          </a:r>
          <a:endParaRPr lang="en-CA" sz="2200" kern="1200" dirty="0"/>
        </a:p>
      </dsp:txBody>
      <dsp:txXfrm>
        <a:off x="1250833" y="1225311"/>
        <a:ext cx="1237080" cy="100622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en-US" sz="2300" b="1" kern="1200" dirty="0">
              <a:solidFill>
                <a:schemeClr val="bg1"/>
              </a:solidFill>
            </a:rPr>
            <a:t>Pages </a:t>
          </a:r>
          <a:r>
            <a:rPr lang="en-US" sz="2300" b="1" kern="1200" dirty="0" smtClean="0">
              <a:solidFill>
                <a:schemeClr val="bg1"/>
              </a:solidFill>
            </a:rPr>
            <a:t>9-10</a:t>
          </a:r>
          <a:endParaRPr lang="en-US" sz="2300" b="1" kern="1200" dirty="0">
            <a:solidFill>
              <a:schemeClr val="bg1"/>
            </a:solidFill>
          </a:endParaRPr>
        </a:p>
      </dsp:txBody>
      <dsp:txXfrm>
        <a:off x="179383" y="198196"/>
        <a:ext cx="866141" cy="86614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7DEF0E-0882-484E-A190-339049CE4C92}">
      <dsp:nvSpPr>
        <dsp:cNvPr id="0" name=""/>
        <dsp:cNvSpPr/>
      </dsp:nvSpPr>
      <dsp:spPr>
        <a:xfrm rot="5400000">
          <a:off x="1785244" y="-346835"/>
          <a:ext cx="1265671" cy="2275840"/>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rtl="0">
            <a:lnSpc>
              <a:spcPct val="90000"/>
            </a:lnSpc>
            <a:spcBef>
              <a:spcPct val="0"/>
            </a:spcBef>
            <a:spcAft>
              <a:spcPct val="15000"/>
            </a:spcAft>
            <a:buChar char="••"/>
          </a:pPr>
          <a:r>
            <a:rPr lang="en-CA" sz="2300" kern="1200" dirty="0" smtClean="0"/>
            <a:t>contact view</a:t>
          </a:r>
          <a:endParaRPr lang="en-CA" sz="2300" kern="1200" dirty="0"/>
        </a:p>
      </dsp:txBody>
      <dsp:txXfrm rot="-5400000">
        <a:off x="1280160" y="220034"/>
        <a:ext cx="2214055" cy="1142101"/>
      </dsp:txXfrm>
    </dsp:sp>
    <dsp:sp modelId="{460FFA17-0469-9041-A24E-7544AD33BDF9}">
      <dsp:nvSpPr>
        <dsp:cNvPr id="0" name=""/>
        <dsp:cNvSpPr/>
      </dsp:nvSpPr>
      <dsp:spPr>
        <a:xfrm>
          <a:off x="0" y="39"/>
          <a:ext cx="1280160" cy="158208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0490" tIns="55245" rIns="110490" bIns="55245" numCol="1" spcCol="1270" anchor="ctr" anchorCtr="0">
          <a:noAutofit/>
        </a:bodyPr>
        <a:lstStyle/>
        <a:p>
          <a:pPr lvl="0" algn="ctr" defTabSz="1289050" rtl="0">
            <a:lnSpc>
              <a:spcPct val="90000"/>
            </a:lnSpc>
            <a:spcBef>
              <a:spcPct val="0"/>
            </a:spcBef>
            <a:spcAft>
              <a:spcPct val="35000"/>
            </a:spcAft>
          </a:pPr>
          <a:r>
            <a:rPr lang="en-CA" sz="2900" kern="1200" dirty="0" smtClean="0"/>
            <a:t>views</a:t>
          </a:r>
          <a:endParaRPr lang="en-CA" sz="2900" kern="1200" dirty="0"/>
        </a:p>
      </dsp:txBody>
      <dsp:txXfrm>
        <a:off x="62492" y="62531"/>
        <a:ext cx="1155176" cy="1457105"/>
      </dsp:txXfrm>
    </dsp:sp>
    <dsp:sp modelId="{A82A4440-A848-C04A-9EA5-257A39E9F405}">
      <dsp:nvSpPr>
        <dsp:cNvPr id="0" name=""/>
        <dsp:cNvSpPr/>
      </dsp:nvSpPr>
      <dsp:spPr>
        <a:xfrm rot="5400000">
          <a:off x="1785244" y="1314358"/>
          <a:ext cx="1265671" cy="2275840"/>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rtl="0">
            <a:lnSpc>
              <a:spcPct val="90000"/>
            </a:lnSpc>
            <a:spcBef>
              <a:spcPct val="0"/>
            </a:spcBef>
            <a:spcAft>
              <a:spcPct val="15000"/>
            </a:spcAft>
            <a:buChar char="••"/>
          </a:pPr>
          <a:r>
            <a:rPr lang="en-CA" sz="2300" kern="1200" dirty="0" smtClean="0"/>
            <a:t>pre-set</a:t>
          </a:r>
          <a:endParaRPr lang="en-CA" sz="2300" kern="1200" dirty="0"/>
        </a:p>
        <a:p>
          <a:pPr marL="228600" lvl="1" indent="-228600" algn="l" defTabSz="1022350" rtl="0">
            <a:lnSpc>
              <a:spcPct val="90000"/>
            </a:lnSpc>
            <a:spcBef>
              <a:spcPct val="0"/>
            </a:spcBef>
            <a:spcAft>
              <a:spcPct val="15000"/>
            </a:spcAft>
            <a:buChar char="••"/>
          </a:pPr>
          <a:r>
            <a:rPr lang="en-CA" sz="2300" kern="1200" dirty="0" smtClean="0"/>
            <a:t>customizable</a:t>
          </a:r>
          <a:endParaRPr lang="en-CA" sz="2300" kern="1200" dirty="0"/>
        </a:p>
      </dsp:txBody>
      <dsp:txXfrm rot="-5400000">
        <a:off x="1280160" y="1881228"/>
        <a:ext cx="2214055" cy="1142101"/>
      </dsp:txXfrm>
    </dsp:sp>
    <dsp:sp modelId="{553BAEBD-2A7C-9D45-B38B-473A8DD04E50}">
      <dsp:nvSpPr>
        <dsp:cNvPr id="0" name=""/>
        <dsp:cNvSpPr/>
      </dsp:nvSpPr>
      <dsp:spPr>
        <a:xfrm>
          <a:off x="0" y="1661233"/>
          <a:ext cx="1280160" cy="158208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0490" tIns="55245" rIns="110490" bIns="55245" numCol="1" spcCol="1270" anchor="ctr" anchorCtr="0">
          <a:noAutofit/>
        </a:bodyPr>
        <a:lstStyle/>
        <a:p>
          <a:pPr lvl="0" algn="ctr" defTabSz="1289050" rtl="0">
            <a:lnSpc>
              <a:spcPct val="90000"/>
            </a:lnSpc>
            <a:spcBef>
              <a:spcPct val="0"/>
            </a:spcBef>
            <a:spcAft>
              <a:spcPct val="35000"/>
            </a:spcAft>
          </a:pPr>
          <a:r>
            <a:rPr lang="en-CA" sz="2900" kern="1200" dirty="0" smtClean="0"/>
            <a:t>filters</a:t>
          </a:r>
          <a:endParaRPr lang="en-CA" sz="2900" kern="1200" dirty="0"/>
        </a:p>
      </dsp:txBody>
      <dsp:txXfrm>
        <a:off x="62492" y="1723725"/>
        <a:ext cx="1155176" cy="145710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en-US" sz="2300" b="1" kern="1200" dirty="0">
              <a:solidFill>
                <a:schemeClr val="bg1"/>
              </a:solidFill>
            </a:rPr>
            <a:t>Pages </a:t>
          </a:r>
          <a:r>
            <a:rPr lang="en-US" sz="2300" b="1" kern="1200" dirty="0" smtClean="0">
              <a:solidFill>
                <a:schemeClr val="bg1"/>
              </a:solidFill>
            </a:rPr>
            <a:t>10-12</a:t>
          </a:r>
          <a:endParaRPr lang="en-US" sz="2300" b="1" kern="1200" dirty="0">
            <a:solidFill>
              <a:schemeClr val="bg1"/>
            </a:solidFill>
          </a:endParaRPr>
        </a:p>
      </dsp:txBody>
      <dsp:txXfrm>
        <a:off x="179383" y="198196"/>
        <a:ext cx="866141" cy="86614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CA"/>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3969AFCD-3589-4BCD-B1CD-5D68B5A45A62}" type="datetimeFigureOut">
              <a:rPr lang="en-CA" smtClean="0"/>
              <a:t>04/01/2018</a:t>
            </a:fld>
            <a:endParaRPr lang="en-CA"/>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CA"/>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B55A2A7-17EB-4531-ACA7-9942674A0C82}" type="slidenum">
              <a:rPr lang="en-CA" smtClean="0"/>
              <a:t>‹#›</a:t>
            </a:fld>
            <a:endParaRPr lang="en-CA"/>
          </a:p>
        </p:txBody>
      </p:sp>
    </p:spTree>
    <p:extLst>
      <p:ext uri="{BB962C8B-B14F-4D97-AF65-F5344CB8AC3E}">
        <p14:creationId xmlns:p14="http://schemas.microsoft.com/office/powerpoint/2010/main" val="3143610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4851" tIns="47425" rIns="94851" bIns="47425" rtlCol="0"/>
          <a:lstStyle>
            <a:lvl1pPr algn="r">
              <a:defRPr sz="1200"/>
            </a:lvl1pPr>
          </a:lstStyle>
          <a:p>
            <a:fld id="{C9078E22-508E-460D-B418-3C5F4B0802A2}" type="datetimeFigureOut">
              <a:rPr lang="en-US" smtClean="0"/>
              <a:t>1/4/2018</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4851" tIns="47425" rIns="94851" bIns="47425" rtlCol="0" anchor="b"/>
          <a:lstStyle>
            <a:lvl1pPr algn="r">
              <a:defRPr sz="1200"/>
            </a:lvl1pPr>
          </a:lstStyle>
          <a:p>
            <a:fld id="{6B19A31D-4D4F-47CE-9926-B2771FC72306}" type="slidenum">
              <a:rPr lang="en-US" smtClean="0"/>
              <a:t>‹#›</a:t>
            </a:fld>
            <a:endParaRPr lang="en-US"/>
          </a:p>
        </p:txBody>
      </p:sp>
    </p:spTree>
    <p:extLst>
      <p:ext uri="{BB962C8B-B14F-4D97-AF65-F5344CB8AC3E}">
        <p14:creationId xmlns:p14="http://schemas.microsoft.com/office/powerpoint/2010/main" val="1901167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3</a:t>
            </a:fld>
            <a:endParaRPr lang="en-US"/>
          </a:p>
        </p:txBody>
      </p:sp>
    </p:spTree>
    <p:extLst>
      <p:ext uri="{BB962C8B-B14F-4D97-AF65-F5344CB8AC3E}">
        <p14:creationId xmlns:p14="http://schemas.microsoft.com/office/powerpoint/2010/main" val="96596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fer to Page 6 and discuss how everything’s going online</a:t>
            </a:r>
          </a:p>
          <a:p>
            <a:endParaRPr lang="en-US" baseline="0" dirty="0" smtClean="0"/>
          </a:p>
          <a:p>
            <a:r>
              <a:rPr lang="en-CA" sz="1200" kern="1200" dirty="0" smtClean="0">
                <a:solidFill>
                  <a:schemeClr val="tx1"/>
                </a:solidFill>
                <a:effectLst/>
                <a:latin typeface="+mn-lt"/>
                <a:ea typeface="+mn-ea"/>
                <a:cs typeface="+mn-cs"/>
              </a:rPr>
              <a:t>Client Explorer is a database, built into ProFile, that helps you view and manage your clients and their files. With Client Explorer, you can create custom filters that let you open, </a:t>
            </a:r>
            <a:r>
              <a:rPr lang="en-CA" sz="1200" kern="1200" dirty="0" err="1" smtClean="0">
                <a:solidFill>
                  <a:schemeClr val="tx1"/>
                </a:solidFill>
                <a:effectLst/>
                <a:latin typeface="+mn-lt"/>
                <a:ea typeface="+mn-ea"/>
                <a:cs typeface="+mn-cs"/>
              </a:rPr>
              <a:t>carryforward</a:t>
            </a:r>
            <a:r>
              <a:rPr lang="en-CA" sz="1200" kern="1200" dirty="0" smtClean="0">
                <a:solidFill>
                  <a:schemeClr val="tx1"/>
                </a:solidFill>
                <a:effectLst/>
                <a:latin typeface="+mn-lt"/>
                <a:ea typeface="+mn-ea"/>
                <a:cs typeface="+mn-cs"/>
              </a:rPr>
              <a:t> and batch EFILE tax returns, and export and print information on your client and their tax files.  </a:t>
            </a:r>
            <a:endParaRPr lang="en-US"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The first time you save a new client file, Client Explorer automatically adds a record for that client to the database. And whenever you make a change to a client file, ProFile updates the record for that client. </a:t>
            </a:r>
            <a:endParaRPr lang="en-US"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Client Explorer does not store all of the data found in each individual client file. Instead, it contains references to the file location. However, you can still print reports and export files that include the data from those client files. Also, you must use Client Explorer to print groups of returns or to file groups of returns by EFILE. </a:t>
            </a:r>
            <a:endParaRPr lang="en-US"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It’s important to note that, in addition to Client Explorer, ProFile offers a separate and functionally-different client database called </a:t>
            </a:r>
            <a:r>
              <a:rPr lang="en-CA" sz="1200" i="1" kern="1200" dirty="0" smtClean="0">
                <a:solidFill>
                  <a:schemeClr val="tx1"/>
                </a:solidFill>
                <a:effectLst/>
                <a:latin typeface="+mn-lt"/>
                <a:ea typeface="+mn-ea"/>
                <a:cs typeface="+mn-cs"/>
              </a:rPr>
              <a:t>Classic Database. </a:t>
            </a:r>
            <a:r>
              <a:rPr lang="en-CA" sz="1200" kern="1200" dirty="0" smtClean="0">
                <a:solidFill>
                  <a:schemeClr val="tx1"/>
                </a:solidFill>
                <a:effectLst/>
                <a:latin typeface="+mn-lt"/>
                <a:ea typeface="+mn-ea"/>
                <a:cs typeface="+mn-cs"/>
              </a:rPr>
              <a:t>This booklet only covers Client Explorer.</a:t>
            </a:r>
            <a:endParaRPr lang="en-US" sz="1200" kern="1200" dirty="0" smtClean="0">
              <a:solidFill>
                <a:schemeClr val="tx1"/>
              </a:solidFill>
              <a:effectLst/>
              <a:latin typeface="+mn-lt"/>
              <a:ea typeface="+mn-ea"/>
              <a:cs typeface="+mn-cs"/>
            </a:endParaRPr>
          </a:p>
          <a:p>
            <a:r>
              <a:rPr lang="en-CA" sz="1200" b="1" i="1" kern="1200" dirty="0" smtClean="0">
                <a:solidFill>
                  <a:schemeClr val="tx1"/>
                </a:solidFill>
                <a:effectLst/>
                <a:latin typeface="+mn-lt"/>
                <a:ea typeface="+mn-ea"/>
                <a:cs typeface="+mn-cs"/>
              </a:rPr>
              <a:t>Note</a:t>
            </a:r>
            <a:r>
              <a:rPr lang="en-CA" sz="1200" i="1" kern="1200" dirty="0" smtClean="0">
                <a:solidFill>
                  <a:schemeClr val="tx1"/>
                </a:solidFill>
                <a:effectLst/>
                <a:latin typeface="+mn-lt"/>
                <a:ea typeface="+mn-ea"/>
                <a:cs typeface="+mn-cs"/>
              </a:rPr>
              <a:t>: You can use either the Classic Database or Client Explorer — not both.</a:t>
            </a:r>
            <a:endParaRPr lang="en-US" sz="1200" i="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19A31D-4D4F-47CE-9926-B2771FC72306}" type="slidenum">
              <a:rPr lang="en-US" smtClean="0"/>
              <a:t>4</a:t>
            </a:fld>
            <a:endParaRPr lang="en-US"/>
          </a:p>
        </p:txBody>
      </p:sp>
    </p:spTree>
    <p:extLst>
      <p:ext uri="{BB962C8B-B14F-4D97-AF65-F5344CB8AC3E}">
        <p14:creationId xmlns:p14="http://schemas.microsoft.com/office/powerpoint/2010/main" val="1365624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fer to page 7 and Demo </a:t>
            </a:r>
            <a:r>
              <a:rPr lang="en-US" baseline="0" dirty="0"/>
              <a:t>client explorer setup for a sole practitioner </a:t>
            </a:r>
            <a:endParaRPr lang="en-US" baseline="0" dirty="0" smtClean="0"/>
          </a:p>
          <a:p>
            <a:r>
              <a:rPr lang="en-US" baseline="0" dirty="0" smtClean="0"/>
              <a:t>and </a:t>
            </a:r>
            <a:r>
              <a:rPr lang="en-US" baseline="0" dirty="0"/>
              <a:t>a shared database </a:t>
            </a:r>
            <a:r>
              <a:rPr lang="en-US" baseline="0" dirty="0" smtClean="0"/>
              <a:t>P9</a:t>
            </a:r>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5</a:t>
            </a:fld>
            <a:endParaRPr lang="en-US"/>
          </a:p>
        </p:txBody>
      </p:sp>
    </p:spTree>
    <p:extLst>
      <p:ext uri="{BB962C8B-B14F-4D97-AF65-F5344CB8AC3E}">
        <p14:creationId xmlns:p14="http://schemas.microsoft.com/office/powerpoint/2010/main" val="9778644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mo client explorer setup for a sole practitioner P38, and a shared database P39</a:t>
            </a:r>
          </a:p>
          <a:p>
            <a:r>
              <a:rPr lang="en-US" baseline="0" dirty="0"/>
              <a:t>Show how to setup (P37)</a:t>
            </a:r>
          </a:p>
          <a:p>
            <a:r>
              <a:rPr lang="en-US" baseline="0" dirty="0"/>
              <a:t>Show how to index files (P41)</a:t>
            </a:r>
          </a:p>
          <a:p>
            <a:r>
              <a:rPr lang="en-US" baseline="0" dirty="0"/>
              <a:t>Show the different views (P42-43)</a:t>
            </a:r>
          </a:p>
          <a:p>
            <a:r>
              <a:rPr lang="en-US" baseline="0" dirty="0"/>
              <a:t>Show how to customize views (P43-44)</a:t>
            </a:r>
          </a:p>
          <a:p>
            <a:r>
              <a:rPr lang="en-US" baseline="0" dirty="0"/>
              <a:t>Show how to use search tool, get client contact info (P44)</a:t>
            </a:r>
          </a:p>
          <a:p>
            <a:r>
              <a:rPr lang="en-US" baseline="0" dirty="0"/>
              <a:t>Demo right-click files (P45)</a:t>
            </a:r>
          </a:p>
          <a:p>
            <a:endParaRPr lang="en-US" baseline="0" dirty="0"/>
          </a:p>
          <a:p>
            <a:endParaRPr lang="en-US" baseline="0" dirty="0"/>
          </a:p>
          <a:p>
            <a:endParaRPr lang="en-US" baseline="0" dirty="0"/>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6</a:t>
            </a:fld>
            <a:endParaRPr lang="en-US"/>
          </a:p>
        </p:txBody>
      </p:sp>
    </p:spTree>
    <p:extLst>
      <p:ext uri="{BB962C8B-B14F-4D97-AF65-F5344CB8AC3E}">
        <p14:creationId xmlns:p14="http://schemas.microsoft.com/office/powerpoint/2010/main" val="1720865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fer to pages 9-10 and show </a:t>
            </a:r>
            <a:r>
              <a:rPr lang="en-US" baseline="0" dirty="0"/>
              <a:t>how to index </a:t>
            </a:r>
            <a:r>
              <a:rPr lang="en-US" baseline="0" dirty="0" smtClean="0"/>
              <a:t>files</a:t>
            </a:r>
          </a:p>
          <a:p>
            <a:r>
              <a:rPr lang="en-US" baseline="0" dirty="0" smtClean="0"/>
              <a:t>Mention we only do this the first time we launch Client Explorer</a:t>
            </a:r>
          </a:p>
          <a:p>
            <a:endParaRPr lang="en-US" baseline="0" dirty="0"/>
          </a:p>
          <a:p>
            <a:endParaRPr lang="en-US" baseline="0" dirty="0"/>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7</a:t>
            </a:fld>
            <a:endParaRPr lang="en-US"/>
          </a:p>
        </p:txBody>
      </p:sp>
    </p:spTree>
    <p:extLst>
      <p:ext uri="{BB962C8B-B14F-4D97-AF65-F5344CB8AC3E}">
        <p14:creationId xmlns:p14="http://schemas.microsoft.com/office/powerpoint/2010/main" val="15256005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fer to pages 10 and show the pre-set views</a:t>
            </a:r>
          </a:p>
          <a:p>
            <a:r>
              <a:rPr lang="en-US" baseline="0" dirty="0" smtClean="0"/>
              <a:t>Go to page 11 and discuss other views, including Contact</a:t>
            </a:r>
          </a:p>
          <a:p>
            <a:r>
              <a:rPr lang="en-US" baseline="0" dirty="0" smtClean="0"/>
              <a:t>Go to page 12 and discuss the filters</a:t>
            </a:r>
          </a:p>
          <a:p>
            <a:endParaRPr lang="en-US" baseline="0" dirty="0"/>
          </a:p>
          <a:p>
            <a:endParaRPr lang="en-US" baseline="0" dirty="0"/>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8</a:t>
            </a:fld>
            <a:endParaRPr lang="en-US"/>
          </a:p>
        </p:txBody>
      </p:sp>
    </p:spTree>
    <p:extLst>
      <p:ext uri="{BB962C8B-B14F-4D97-AF65-F5344CB8AC3E}">
        <p14:creationId xmlns:p14="http://schemas.microsoft.com/office/powerpoint/2010/main" val="1058400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mo </a:t>
            </a:r>
            <a:r>
              <a:rPr lang="en-US" baseline="0" dirty="0" smtClean="0"/>
              <a:t>how </a:t>
            </a:r>
            <a:r>
              <a:rPr lang="en-US" baseline="0" dirty="0"/>
              <a:t>to use search tool, get client contact info </a:t>
            </a:r>
            <a:r>
              <a:rPr lang="en-US" baseline="0" dirty="0" smtClean="0"/>
              <a:t>(P12)</a:t>
            </a:r>
            <a:endParaRPr lang="en-US" baseline="0" dirty="0"/>
          </a:p>
          <a:p>
            <a:r>
              <a:rPr lang="en-US" baseline="0" dirty="0"/>
              <a:t>Demo right-click files (</a:t>
            </a:r>
            <a:r>
              <a:rPr lang="en-US" baseline="0" dirty="0" smtClean="0"/>
              <a:t>P13)</a:t>
            </a:r>
            <a:endParaRPr lang="en-US" baseline="0" dirty="0"/>
          </a:p>
          <a:p>
            <a:endParaRPr lang="en-US" baseline="0" dirty="0"/>
          </a:p>
          <a:p>
            <a:endParaRPr lang="en-US" baseline="0" dirty="0"/>
          </a:p>
          <a:p>
            <a:endParaRPr lang="en-US" baseline="0" dirty="0"/>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9</a:t>
            </a:fld>
            <a:endParaRPr lang="en-US"/>
          </a:p>
        </p:txBody>
      </p:sp>
    </p:spTree>
    <p:extLst>
      <p:ext uri="{BB962C8B-B14F-4D97-AF65-F5344CB8AC3E}">
        <p14:creationId xmlns:p14="http://schemas.microsoft.com/office/powerpoint/2010/main" val="19523548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Show how to EFILE </a:t>
            </a:r>
            <a:r>
              <a:rPr lang="en-US" baseline="0" dirty="0" smtClean="0"/>
              <a:t>(P14)</a:t>
            </a:r>
            <a:endParaRPr lang="en-US" baseline="0" dirty="0"/>
          </a:p>
          <a:p>
            <a:pPr marL="171450" indent="-171450">
              <a:buFontTx/>
              <a:buChar char="-"/>
            </a:pPr>
            <a:r>
              <a:rPr lang="en-US" baseline="0" dirty="0"/>
              <a:t>In left pane, click Select All</a:t>
            </a:r>
          </a:p>
          <a:p>
            <a:pPr marL="171450" indent="-171450">
              <a:buFontTx/>
              <a:buChar char="-"/>
            </a:pPr>
            <a:r>
              <a:rPr lang="en-US" baseline="0" dirty="0"/>
              <a:t>In the View dropdown, select EFILE Eligible</a:t>
            </a:r>
          </a:p>
          <a:p>
            <a:pPr marL="171450" indent="-171450">
              <a:buFontTx/>
              <a:buChar char="-"/>
            </a:pPr>
            <a:r>
              <a:rPr lang="en-US" baseline="0" dirty="0"/>
              <a:t>Click checkboxes of files to EFILE</a:t>
            </a:r>
          </a:p>
          <a:p>
            <a:pPr marL="171450" indent="-171450">
              <a:buFontTx/>
              <a:buChar char="-"/>
            </a:pPr>
            <a:r>
              <a:rPr lang="en-US" baseline="0" dirty="0"/>
              <a:t>In left pane, choose Build EFILE</a:t>
            </a:r>
          </a:p>
          <a:p>
            <a:pPr marL="171450" indent="-171450">
              <a:buFontTx/>
              <a:buChar char="-"/>
            </a:pPr>
            <a:r>
              <a:rPr lang="en-US" baseline="0" dirty="0"/>
              <a:t>Click OK then click Transmit Now</a:t>
            </a:r>
          </a:p>
          <a:p>
            <a:endParaRPr lang="en-US" baseline="0" dirty="0"/>
          </a:p>
          <a:p>
            <a:r>
              <a:rPr lang="en-US" baseline="0" dirty="0"/>
              <a:t>Show how to export reports </a:t>
            </a:r>
            <a:r>
              <a:rPr lang="en-US" baseline="0" dirty="0" smtClean="0"/>
              <a:t>(P16) </a:t>
            </a:r>
            <a:r>
              <a:rPr lang="en-US" baseline="0" dirty="0"/>
              <a:t>WHEN YOU DEMO THIS, MAKE SURE TO NOTE THE FOLDER IN WHICH YOU SAVE YOUR .QEX &amp; .CSV FILES</a:t>
            </a:r>
          </a:p>
          <a:p>
            <a:pPr marL="171450" indent="-171450">
              <a:buFontTx/>
              <a:buChar char="-"/>
            </a:pPr>
            <a:r>
              <a:rPr lang="en-US" baseline="0" dirty="0"/>
              <a:t>Select client files and click Database &gt; Export</a:t>
            </a:r>
          </a:p>
          <a:p>
            <a:pPr marL="171450" indent="-171450">
              <a:buFontTx/>
              <a:buChar char="-"/>
            </a:pPr>
            <a:r>
              <a:rPr lang="en-US" baseline="0" dirty="0"/>
              <a:t>Click Options in the window that opens </a:t>
            </a:r>
          </a:p>
          <a:p>
            <a:pPr marL="171450" indent="-171450">
              <a:buFontTx/>
              <a:buChar char="-"/>
            </a:pPr>
            <a:r>
              <a:rPr lang="en-US" baseline="0" dirty="0"/>
              <a:t>On the Fields tab, click Add and select the fields to add to the report (explain that the Fields tab is used to create the .</a:t>
            </a:r>
            <a:r>
              <a:rPr lang="en-US" baseline="0" dirty="0" err="1"/>
              <a:t>qex</a:t>
            </a:r>
            <a:r>
              <a:rPr lang="en-US" baseline="0" dirty="0"/>
              <a:t> extraction file)</a:t>
            </a:r>
          </a:p>
          <a:p>
            <a:pPr marL="171450" indent="-171450">
              <a:buFontTx/>
              <a:buChar char="-"/>
            </a:pPr>
            <a:r>
              <a:rPr lang="en-US" baseline="0" dirty="0"/>
              <a:t>Click the Format tab and then select the Browse icon next to the Export to File field (the Format tab is used to export the actual data to Excel)</a:t>
            </a:r>
          </a:p>
          <a:p>
            <a:pPr marL="171450" indent="-171450">
              <a:buFontTx/>
              <a:buChar char="-"/>
            </a:pPr>
            <a:r>
              <a:rPr lang="en-US" baseline="0" dirty="0"/>
              <a:t>Type a file name for the file you’re creating</a:t>
            </a:r>
          </a:p>
          <a:p>
            <a:pPr marL="171450" indent="-171450">
              <a:buFontTx/>
              <a:buChar char="-"/>
            </a:pPr>
            <a:r>
              <a:rPr lang="en-US" baseline="0" dirty="0"/>
              <a:t>Click Open</a:t>
            </a:r>
          </a:p>
          <a:p>
            <a:pPr marL="171450" indent="-171450">
              <a:buFontTx/>
              <a:buChar char="-"/>
            </a:pPr>
            <a:r>
              <a:rPr lang="en-US" baseline="0" dirty="0" err="1"/>
              <a:t>ProFile</a:t>
            </a:r>
            <a:r>
              <a:rPr lang="en-US" baseline="0" dirty="0"/>
              <a:t> returns to the Export Options window where you can choose type of file (tab delimited, etc.) and where you can choose options such as exporting field names as header columns in Excel</a:t>
            </a:r>
          </a:p>
          <a:p>
            <a:pPr marL="171450" indent="-171450">
              <a:buFontTx/>
              <a:buChar char="-"/>
            </a:pPr>
            <a:r>
              <a:rPr lang="en-US" baseline="0" dirty="0"/>
              <a:t>Go back to the Fields tab, click Save and </a:t>
            </a:r>
            <a:r>
              <a:rPr lang="en-US" baseline="0" dirty="0" err="1"/>
              <a:t>ProFile</a:t>
            </a:r>
            <a:r>
              <a:rPr lang="en-US" baseline="0" dirty="0"/>
              <a:t> will save the .</a:t>
            </a:r>
            <a:r>
              <a:rPr lang="en-US" baseline="0" dirty="0" err="1"/>
              <a:t>qex</a:t>
            </a:r>
            <a:r>
              <a:rPr lang="en-US" baseline="0" dirty="0"/>
              <a:t> file (you may have to enter a filename)</a:t>
            </a:r>
          </a:p>
          <a:p>
            <a:pPr marL="171450" indent="-171450">
              <a:buFontTx/>
              <a:buChar char="-"/>
            </a:pPr>
            <a:r>
              <a:rPr lang="en-US" baseline="0" dirty="0"/>
              <a:t>Click Save once more to save the .</a:t>
            </a:r>
            <a:r>
              <a:rPr lang="en-US" baseline="0" dirty="0" err="1"/>
              <a:t>qex</a:t>
            </a:r>
            <a:r>
              <a:rPr lang="en-US" baseline="0" dirty="0"/>
              <a:t> file, and you’ll be taken back to the main/options window</a:t>
            </a:r>
          </a:p>
          <a:p>
            <a:pPr marL="171450" indent="-171450">
              <a:buFontTx/>
              <a:buChar char="-"/>
            </a:pPr>
            <a:r>
              <a:rPr lang="en-US" baseline="0" dirty="0"/>
              <a:t>Click OK and you’ll see the Export Files window where you click Export to send the info to the .csv file that you named earlier</a:t>
            </a:r>
          </a:p>
          <a:p>
            <a:pPr marL="0" indent="0">
              <a:buFontTx/>
              <a:buNone/>
            </a:pPr>
            <a:endParaRPr lang="en-US" baseline="0" dirty="0"/>
          </a:p>
          <a:p>
            <a:pPr marL="0" indent="0">
              <a:buFontTx/>
              <a:buNone/>
            </a:pPr>
            <a:r>
              <a:rPr lang="en-US" baseline="0" dirty="0"/>
              <a:t>Go find the .csv file and open it in Excel. </a:t>
            </a:r>
          </a:p>
          <a:p>
            <a:endParaRPr lang="en-US" baseline="0" dirty="0"/>
          </a:p>
          <a:p>
            <a:endParaRPr lang="en-US" baseline="0" dirty="0"/>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0</a:t>
            </a:fld>
            <a:endParaRPr lang="en-US"/>
          </a:p>
        </p:txBody>
      </p:sp>
    </p:spTree>
    <p:extLst>
      <p:ext uri="{BB962C8B-B14F-4D97-AF65-F5344CB8AC3E}">
        <p14:creationId xmlns:p14="http://schemas.microsoft.com/office/powerpoint/2010/main" val="14279740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Show how to print reports </a:t>
            </a:r>
            <a:r>
              <a:rPr lang="en-US" baseline="0" dirty="0" smtClean="0"/>
              <a:t>(P20-25)</a:t>
            </a:r>
            <a:endParaRPr lang="en-US" baseline="0" dirty="0"/>
          </a:p>
          <a:p>
            <a:pPr marL="171450" indent="-171450">
              <a:buFontTx/>
              <a:buChar char="-"/>
            </a:pPr>
            <a:r>
              <a:rPr lang="en-US" baseline="0" dirty="0"/>
              <a:t>Steps are similar to Export demo – select files then click Database Print Report</a:t>
            </a:r>
          </a:p>
          <a:p>
            <a:pPr marL="171450" indent="-171450">
              <a:buFontTx/>
              <a:buChar char="-"/>
            </a:pPr>
            <a:r>
              <a:rPr lang="en-US" baseline="0" dirty="0"/>
              <a:t>Select Options and on the Header tab, select text that will appear as headers on all the pages (</a:t>
            </a:r>
            <a:r>
              <a:rPr lang="en-US" baseline="0" dirty="0" err="1"/>
              <a:t>eg</a:t>
            </a:r>
            <a:r>
              <a:rPr lang="en-US" baseline="0" dirty="0"/>
              <a:t>: Today)</a:t>
            </a:r>
          </a:p>
          <a:p>
            <a:pPr marL="171450" indent="-171450">
              <a:buFontTx/>
              <a:buChar char="-"/>
            </a:pPr>
            <a:r>
              <a:rPr lang="en-US" baseline="0" dirty="0"/>
              <a:t>Go to the Fields tab, select the first (top left) tab and click Properties, in the window that opens enter text for title 1 (you can also choose fonts and other formatting options). Click OK to close the Title Properties dialog box</a:t>
            </a:r>
          </a:p>
          <a:p>
            <a:pPr marL="171450" indent="-171450">
              <a:buFontTx/>
              <a:buChar char="-"/>
            </a:pPr>
            <a:r>
              <a:rPr lang="en-US" baseline="0" dirty="0"/>
              <a:t>Double click the cell directly below and choose from a list of field codes and then click OK</a:t>
            </a:r>
          </a:p>
          <a:p>
            <a:pPr marL="171450" indent="-171450">
              <a:buFontTx/>
              <a:buChar char="-"/>
            </a:pPr>
            <a:r>
              <a:rPr lang="en-US" baseline="0" dirty="0"/>
              <a:t> Click add to add more cells to the report</a:t>
            </a:r>
          </a:p>
          <a:p>
            <a:pPr marL="171450" indent="-171450">
              <a:buFontTx/>
              <a:buChar char="-"/>
            </a:pPr>
            <a:r>
              <a:rPr lang="en-US" baseline="0" dirty="0"/>
              <a:t>You can then click the Footer tab to add footer info</a:t>
            </a:r>
          </a:p>
          <a:p>
            <a:pPr marL="171450" indent="-171450">
              <a:buFontTx/>
              <a:buChar char="-"/>
            </a:pPr>
            <a:r>
              <a:rPr lang="en-US" baseline="0" dirty="0"/>
              <a:t>You can also click the Format tab to add other options such as Printer, margins, etc.</a:t>
            </a:r>
          </a:p>
          <a:p>
            <a:pPr marL="171450" indent="-171450">
              <a:buFontTx/>
              <a:buChar char="-"/>
            </a:pPr>
            <a:r>
              <a:rPr lang="en-US" baseline="0" dirty="0"/>
              <a:t>Click OK to save your setup options and then click OK to open the Create Report dialog box.</a:t>
            </a:r>
          </a:p>
          <a:p>
            <a:pPr marL="171450" indent="-171450">
              <a:buFontTx/>
              <a:buChar char="-"/>
            </a:pPr>
            <a:r>
              <a:rPr lang="en-US" baseline="0" dirty="0"/>
              <a:t>Click Print</a:t>
            </a:r>
          </a:p>
          <a:p>
            <a:pPr marL="171450" indent="-171450">
              <a:buFontTx/>
              <a:buChar char="-"/>
            </a:pPr>
            <a:endParaRPr lang="en-US" baseline="0" dirty="0"/>
          </a:p>
          <a:p>
            <a:r>
              <a:rPr lang="en-US" baseline="0" dirty="0"/>
              <a:t>Show how to use mailing labels </a:t>
            </a:r>
            <a:r>
              <a:rPr lang="en-US" baseline="0" dirty="0" smtClean="0"/>
              <a:t>(P25-27) </a:t>
            </a:r>
            <a:r>
              <a:rPr lang="en-US" baseline="0" dirty="0"/>
              <a:t>MENTION THAT ALL FILES HAVE TO BE THE SAME YEAR AND MODULE</a:t>
            </a:r>
          </a:p>
          <a:p>
            <a:pPr marL="171450" indent="-171450">
              <a:buFontTx/>
              <a:buChar char="-"/>
            </a:pPr>
            <a:r>
              <a:rPr lang="en-US" baseline="0" dirty="0"/>
              <a:t>File &gt;Setup Mailing Labels</a:t>
            </a:r>
          </a:p>
          <a:p>
            <a:pPr marL="171450" indent="-171450">
              <a:buFontTx/>
              <a:buChar char="-"/>
            </a:pPr>
            <a:r>
              <a:rPr lang="en-US" baseline="0" dirty="0"/>
              <a:t>Select module and year and choose the label type</a:t>
            </a:r>
          </a:p>
          <a:p>
            <a:pPr marL="171450" indent="-171450">
              <a:buFontTx/>
              <a:buChar char="-"/>
            </a:pPr>
            <a:r>
              <a:rPr lang="en-US" baseline="0" dirty="0"/>
              <a:t>From Client Explorer, choose a few files for a test run and then click Database &gt; Mailing Labels</a:t>
            </a:r>
          </a:p>
          <a:p>
            <a:pPr marL="171450" indent="-171450">
              <a:buFontTx/>
              <a:buChar char="-"/>
            </a:pPr>
            <a:r>
              <a:rPr lang="en-US" b="1" i="1" u="sng" baseline="0" dirty="0"/>
              <a:t>To avoid printing two labels for each spousal return, check the box marked Print only one label for coupled returns </a:t>
            </a:r>
          </a:p>
          <a:p>
            <a:pPr marL="171450" indent="-171450">
              <a:buFontTx/>
              <a:buChar char="-"/>
            </a:pPr>
            <a:r>
              <a:rPr lang="en-US" baseline="0" dirty="0"/>
              <a:t>Review the Mailing Labels dialog settings and </a:t>
            </a:r>
            <a:r>
              <a:rPr lang="en-US" baseline="0"/>
              <a:t>click </a:t>
            </a:r>
            <a:r>
              <a:rPr lang="en-US" baseline="0" smtClean="0"/>
              <a:t>OK</a:t>
            </a:r>
            <a:endParaRPr lang="en-US" baseline="0" dirty="0"/>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1</a:t>
            </a:fld>
            <a:endParaRPr lang="en-US"/>
          </a:p>
        </p:txBody>
      </p:sp>
    </p:spTree>
    <p:extLst>
      <p:ext uri="{BB962C8B-B14F-4D97-AF65-F5344CB8AC3E}">
        <p14:creationId xmlns:p14="http://schemas.microsoft.com/office/powerpoint/2010/main" val="1349458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descr="profile-background.g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0226" y="609600"/>
            <a:ext cx="5741773" cy="6248400"/>
          </a:xfrm>
          <a:prstGeom prst="rect">
            <a:avLst/>
          </a:prstGeom>
        </p:spPr>
      </p:pic>
      <p:sp>
        <p:nvSpPr>
          <p:cNvPr id="12" name="Text Placeholder 5"/>
          <p:cNvSpPr>
            <a:spLocks noGrp="1"/>
          </p:cNvSpPr>
          <p:nvPr>
            <p:ph type="body" sz="quarter" idx="12" hasCustomPrompt="1"/>
          </p:nvPr>
        </p:nvSpPr>
        <p:spPr>
          <a:xfrm>
            <a:off x="1438550" y="5014013"/>
            <a:ext cx="7083174" cy="1176193"/>
          </a:xfrm>
          <a:prstGeom prst="rect">
            <a:avLst/>
          </a:prstGeom>
        </p:spPr>
        <p:txBody>
          <a:bodyPr anchor="t" anchorCtr="0">
            <a:noAutofit/>
          </a:bodyPr>
          <a:lstStyle>
            <a:lvl1pPr marL="0" indent="0">
              <a:buFontTx/>
              <a:buNone/>
              <a:defRPr sz="2198" b="0" i="0" cap="none" spc="-31">
                <a:solidFill>
                  <a:schemeClr val="tx1"/>
                </a:solidFill>
                <a:latin typeface="+mn-lt"/>
                <a:cs typeface="Avenir Next Demi Bold"/>
              </a:defRPr>
            </a:lvl1pPr>
            <a:lvl2pPr marL="456741" indent="0">
              <a:buFontTx/>
              <a:buNone/>
              <a:defRPr sz="1500">
                <a:solidFill>
                  <a:schemeClr val="bg1"/>
                </a:solidFill>
              </a:defRPr>
            </a:lvl2pPr>
            <a:lvl3pPr marL="913485" indent="0">
              <a:buFontTx/>
              <a:buNone/>
              <a:defRPr sz="1500">
                <a:solidFill>
                  <a:schemeClr val="bg1"/>
                </a:solidFill>
              </a:defRPr>
            </a:lvl3pPr>
            <a:lvl4pPr marL="1370226" indent="0">
              <a:buFontTx/>
              <a:buNone/>
              <a:defRPr sz="1500">
                <a:solidFill>
                  <a:schemeClr val="bg1"/>
                </a:solidFill>
              </a:defRPr>
            </a:lvl4pPr>
            <a:lvl5pPr marL="1826965"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50" y="4430582"/>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4AD69C48-1A55-A744-96DC-6BD26E535E94}" type="datetimeFigureOut">
              <a:rPr lang="en-US" smtClean="0"/>
              <a:t>1/4/2018</a:t>
            </a:fld>
            <a:endParaRPr lang="en-US"/>
          </a:p>
        </p:txBody>
      </p:sp>
      <p:sp>
        <p:nvSpPr>
          <p:cNvPr id="19" name="Title 18"/>
          <p:cNvSpPr>
            <a:spLocks noGrp="1"/>
          </p:cNvSpPr>
          <p:nvPr>
            <p:ph type="title" hasCustomPrompt="1"/>
          </p:nvPr>
        </p:nvSpPr>
        <p:spPr>
          <a:xfrm>
            <a:off x="1436972" y="1979097"/>
            <a:ext cx="7084753" cy="2437245"/>
          </a:xfrm>
          <a:prstGeom prst="rect">
            <a:avLst/>
          </a:prstGeom>
        </p:spPr>
        <p:txBody>
          <a:bodyPr wrap="square" anchor="b" anchorCtr="0">
            <a:noAutofit/>
          </a:bodyPr>
          <a:lstStyle>
            <a:lvl1pPr algn="l">
              <a:lnSpc>
                <a:spcPct val="95000"/>
              </a:lnSpc>
              <a:defRPr sz="6996" b="1" i="0" cap="none" spc="-31" baseline="0">
                <a:solidFill>
                  <a:schemeClr val="tx1"/>
                </a:solidFill>
                <a:latin typeface="+mj-lt"/>
              </a:defRPr>
            </a:lvl1pPr>
          </a:lstStyle>
          <a:p>
            <a:r>
              <a:rPr lang="en-US" dirty="0"/>
              <a:t>Click to add a title</a:t>
            </a:r>
          </a:p>
        </p:txBody>
      </p:sp>
      <p:pic>
        <p:nvPicPr>
          <p:cNvPr id="10" name="Picture 9" descr="profile logo copy.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3211" y="527468"/>
            <a:ext cx="1812367" cy="519545"/>
          </a:xfrm>
          <a:prstGeom prst="rect">
            <a:avLst/>
          </a:prstGeom>
        </p:spPr>
      </p:pic>
    </p:spTree>
    <p:extLst>
      <p:ext uri="{BB962C8B-B14F-4D97-AF65-F5344CB8AC3E}">
        <p14:creationId xmlns:p14="http://schemas.microsoft.com/office/powerpoint/2010/main" val="138067543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Big Titl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4625"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708170" y="2974957"/>
            <a:ext cx="10750260" cy="681038"/>
          </a:xfrm>
          <a:prstGeom prst="rect">
            <a:avLst/>
          </a:prstGeom>
        </p:spPr>
        <p:txBody>
          <a:bodyPr anchor="ctr"/>
          <a:lstStyle>
            <a:lvl1pPr algn="ctr" rtl="0" eaLnBrk="0" fontAlgn="base" hangingPunct="0">
              <a:spcBef>
                <a:spcPct val="0"/>
              </a:spcBef>
              <a:spcAft>
                <a:spcPct val="0"/>
              </a:spcAft>
              <a:defRPr lang="en-US" sz="6000" b="0" dirty="0">
                <a:solidFill>
                  <a:schemeClr val="accent1"/>
                </a:solidFill>
                <a:latin typeface="+mj-lt"/>
                <a:ea typeface="+mj-ea"/>
                <a:cs typeface="+mj-cs"/>
              </a:defRPr>
            </a:lvl1pPr>
          </a:lstStyle>
          <a:p>
            <a:r>
              <a:rPr lang="en-US"/>
              <a:t>Click to edit Master title style</a:t>
            </a:r>
            <a:endParaRPr lang="en-US" dirty="0"/>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1"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5"/>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864262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5" name="TextBox 4"/>
          <p:cNvSpPr txBox="1"/>
          <p:nvPr userDrawn="1"/>
        </p:nvSpPr>
        <p:spPr>
          <a:xfrm>
            <a:off x="7824141" y="331846"/>
            <a:ext cx="3909530" cy="400110"/>
          </a:xfrm>
          <a:prstGeom prst="rect">
            <a:avLst/>
          </a:prstGeom>
          <a:noFill/>
        </p:spPr>
        <p:txBody>
          <a:bodyPr wrap="square" rtlCol="0">
            <a:spAutoFit/>
          </a:bodyPr>
          <a:lstStyle/>
          <a:p>
            <a:pPr algn="r"/>
            <a:r>
              <a:rPr lang="en-CA" sz="1999" dirty="0">
                <a:solidFill>
                  <a:schemeClr val="bg1"/>
                </a:solidFill>
                <a:latin typeface="Avenir Next Medium"/>
              </a:rPr>
              <a:t>#</a:t>
            </a:r>
            <a:r>
              <a:rPr lang="en-CA" sz="1999" dirty="0">
                <a:solidFill>
                  <a:schemeClr val="bg1"/>
                </a:solidFill>
                <a:latin typeface="Avenir Next Regular"/>
              </a:rPr>
              <a:t>Intuit</a:t>
            </a:r>
            <a:r>
              <a:rPr lang="en-CA" sz="1999" dirty="0">
                <a:solidFill>
                  <a:schemeClr val="bg1"/>
                </a:solidFill>
                <a:latin typeface="Avenir Next Medium"/>
              </a:rPr>
              <a:t>THRIVE</a:t>
            </a:r>
          </a:p>
        </p:txBody>
      </p:sp>
      <p:sp>
        <p:nvSpPr>
          <p:cNvPr id="6"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8"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1623777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8" name="Rectangle 7"/>
          <p:cNvSpPr/>
          <p:nvPr userDrawn="1"/>
        </p:nvSpPr>
        <p:spPr>
          <a:xfrm>
            <a:off x="0" y="2529584"/>
            <a:ext cx="12188824" cy="2587831"/>
          </a:xfrm>
          <a:prstGeom prst="rect">
            <a:avLst/>
          </a:prstGeom>
          <a:gradFill>
            <a:gsLst>
              <a:gs pos="0">
                <a:srgbClr val="FFFFFF">
                  <a:alpha val="10000"/>
                </a:srgbClr>
              </a:gs>
              <a:gs pos="100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360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647593" y="3226896"/>
            <a:ext cx="10742720" cy="681038"/>
          </a:xfrm>
          <a:prstGeom prst="rect">
            <a:avLst/>
          </a:prstGeom>
        </p:spPr>
        <p:txBody>
          <a:bodyPr anchor="b"/>
          <a:lstStyle>
            <a:lvl1pPr algn="l">
              <a:defRPr sz="4200" b="0">
                <a:solidFill>
                  <a:schemeClr val="accent1"/>
                </a:solidFill>
                <a:latin typeface="+mj-lt"/>
              </a:defRPr>
            </a:lvl1pPr>
          </a:lstStyle>
          <a:p>
            <a:r>
              <a:rPr lang="en-US"/>
              <a:t>Click to edit Master title style</a:t>
            </a:r>
            <a:endParaRPr lang="en-US" dirty="0"/>
          </a:p>
        </p:txBody>
      </p:sp>
      <p:sp>
        <p:nvSpPr>
          <p:cNvPr id="2857" name="Rectangle 809"/>
          <p:cNvSpPr>
            <a:spLocks noGrp="1" noChangeArrowheads="1"/>
          </p:cNvSpPr>
          <p:nvPr>
            <p:ph type="subTitle" sz="quarter" idx="1"/>
          </p:nvPr>
        </p:nvSpPr>
        <p:spPr>
          <a:xfrm>
            <a:off x="646849" y="4086856"/>
            <a:ext cx="10743463" cy="388937"/>
          </a:xfrm>
          <a:prstGeom prst="rect">
            <a:avLst/>
          </a:prstGeom>
        </p:spPr>
        <p:txBody>
          <a:bodyPr tIns="0" bIns="0"/>
          <a:lstStyle>
            <a:lvl1pPr marL="0" indent="0">
              <a:buFont typeface="Times" pitchFamily="18" charset="0"/>
              <a:buNone/>
              <a:defRPr sz="2800">
                <a:solidFill>
                  <a:schemeClr val="accent1"/>
                </a:solidFill>
                <a:latin typeface="+mj-lt"/>
              </a:defRPr>
            </a:lvl1pPr>
          </a:lstStyle>
          <a:p>
            <a:r>
              <a:rPr lang="en-US" dirty="0"/>
              <a:t>Click to edit Master subtitle style</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sp>
        <p:nvSpPr>
          <p:cNvPr id="3" name="Text Placeholder 2"/>
          <p:cNvSpPr>
            <a:spLocks noGrp="1"/>
          </p:cNvSpPr>
          <p:nvPr>
            <p:ph type="body" sz="quarter" idx="10"/>
          </p:nvPr>
        </p:nvSpPr>
        <p:spPr>
          <a:xfrm>
            <a:off x="661896" y="5134067"/>
            <a:ext cx="4365716" cy="547688"/>
          </a:xfrm>
          <a:prstGeom prst="rect">
            <a:avLst/>
          </a:prstGeom>
        </p:spPr>
        <p:txBody>
          <a:bodyPr/>
          <a:lstStyle>
            <a:lvl1pPr marL="0" indent="0">
              <a:buNone/>
              <a:defRPr sz="2000">
                <a:solidFill>
                  <a:schemeClr val="tx2"/>
                </a:solidFill>
                <a:latin typeface="+mj-lt"/>
              </a:defRPr>
            </a:lvl1pPr>
          </a:lstStyle>
          <a:p>
            <a:pPr lvl="0"/>
            <a:r>
              <a:rPr lang="en-US"/>
              <a:t>Click to edit Master text styles</a:t>
            </a:r>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2"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4" name="Picture 13"/>
          <p:cNvPicPr>
            <a:picLocks noChangeAspect="1"/>
          </p:cNvPicPr>
          <p:nvPr userDrawn="1"/>
        </p:nvPicPr>
        <p:blipFill>
          <a:blip r:embed="rId6"/>
          <a:stretch>
            <a:fillRect/>
          </a:stretch>
        </p:blipFill>
        <p:spPr>
          <a:xfrm>
            <a:off x="9523412" y="702469"/>
            <a:ext cx="2802894" cy="1235267"/>
          </a:xfrm>
          <a:prstGeom prst="rect">
            <a:avLst/>
          </a:prstGeom>
        </p:spPr>
      </p:pic>
    </p:spTree>
    <p:extLst>
      <p:ext uri="{BB962C8B-B14F-4D97-AF65-F5344CB8AC3E}">
        <p14:creationId xmlns:p14="http://schemas.microsoft.com/office/powerpoint/2010/main" val="16622667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Idea - Stylized">
    <p:spTree>
      <p:nvGrpSpPr>
        <p:cNvPr id="1" name=""/>
        <p:cNvGrpSpPr/>
        <p:nvPr/>
      </p:nvGrpSpPr>
      <p:grpSpPr>
        <a:xfrm>
          <a:off x="0" y="0"/>
          <a:ext cx="0" cy="0"/>
          <a:chOff x="0" y="0"/>
          <a:chExt cx="0" cy="0"/>
        </a:xfrm>
      </p:grpSpPr>
      <p:sp>
        <p:nvSpPr>
          <p:cNvPr id="3" name="Rectangle 2"/>
          <p:cNvSpPr/>
          <p:nvPr/>
        </p:nvSpPr>
        <p:spPr>
          <a:xfrm>
            <a:off x="0" y="1877291"/>
            <a:ext cx="12188825" cy="2587831"/>
          </a:xfrm>
          <a:prstGeom prst="rect">
            <a:avLst/>
          </a:prstGeom>
          <a:solidFill>
            <a:srgbClr val="FFFFFF">
              <a:alpha val="66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808"/>
          <p:cNvSpPr>
            <a:spLocks noGrp="1" noChangeArrowheads="1"/>
          </p:cNvSpPr>
          <p:nvPr>
            <p:ph type="ctrTitle" sz="quarter"/>
          </p:nvPr>
        </p:nvSpPr>
        <p:spPr>
          <a:xfrm>
            <a:off x="279773" y="2855650"/>
            <a:ext cx="11589728" cy="681038"/>
          </a:xfrm>
          <a:prstGeom prst="rect">
            <a:avLst/>
          </a:prstGeom>
        </p:spPr>
        <p:txBody>
          <a:bodyPr anchor="ctr"/>
          <a:lstStyle>
            <a:lvl1pPr algn="ctr" rtl="0" eaLnBrk="0" fontAlgn="base" hangingPunct="0">
              <a:spcBef>
                <a:spcPct val="0"/>
              </a:spcBef>
              <a:spcAft>
                <a:spcPct val="0"/>
              </a:spcAft>
              <a:defRPr lang="en-US" sz="48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cxnSp>
        <p:nvCxnSpPr>
          <p:cNvPr id="6" name="Straight Connector 5"/>
          <p:cNvCxnSpPr/>
          <p:nvPr userDrawn="1"/>
        </p:nvCxnSpPr>
        <p:spPr bwMode="auto">
          <a:xfrm>
            <a:off x="0" y="1877290"/>
            <a:ext cx="12188825" cy="0"/>
          </a:xfrm>
          <a:prstGeom prst="line">
            <a:avLst/>
          </a:prstGeom>
          <a:solidFill>
            <a:schemeClr val="accent1"/>
          </a:solidFill>
          <a:ln w="9525" cap="flat" cmpd="sng" algn="ctr">
            <a:gradFill>
              <a:gsLst>
                <a:gs pos="31000">
                  <a:srgbClr val="7F92C1"/>
                </a:gs>
                <a:gs pos="0">
                  <a:schemeClr val="accent1"/>
                </a:gs>
                <a:gs pos="100000">
                  <a:schemeClr val="accent1">
                    <a:lumMod val="20000"/>
                    <a:lumOff val="80000"/>
                  </a:schemeClr>
                </a:gs>
              </a:gsLst>
              <a:lin ang="2700000" scaled="0"/>
            </a:gradFill>
            <a:prstDash val="solid"/>
            <a:round/>
            <a:headEnd type="none" w="sm" len="sm"/>
            <a:tailEnd type="none" w="sm" len="sm"/>
          </a:ln>
          <a:effectLst/>
        </p:spPr>
      </p:cxnSp>
      <p:cxnSp>
        <p:nvCxnSpPr>
          <p:cNvPr id="8" name="Straight Connector 7"/>
          <p:cNvCxnSpPr/>
          <p:nvPr/>
        </p:nvCxnSpPr>
        <p:spPr bwMode="auto">
          <a:xfrm>
            <a:off x="0" y="4465121"/>
            <a:ext cx="12188825" cy="0"/>
          </a:xfrm>
          <a:prstGeom prst="line">
            <a:avLst/>
          </a:prstGeom>
          <a:solidFill>
            <a:schemeClr val="accent1"/>
          </a:solidFill>
          <a:ln w="9525" cap="flat" cmpd="sng" algn="ctr">
            <a:gradFill>
              <a:gsLst>
                <a:gs pos="72000">
                  <a:srgbClr val="7F92C1"/>
                </a:gs>
                <a:gs pos="100000">
                  <a:schemeClr val="accent1"/>
                </a:gs>
                <a:gs pos="0">
                  <a:schemeClr val="accent1">
                    <a:lumMod val="20000"/>
                    <a:lumOff val="80000"/>
                  </a:schemeClr>
                </a:gs>
              </a:gsLst>
              <a:lin ang="2700000" scaled="0"/>
            </a:gradFill>
            <a:prstDash val="solid"/>
            <a:round/>
            <a:headEnd type="none" w="sm" len="sm"/>
            <a:tailEnd type="none" w="sm" len="sm"/>
          </a:ln>
          <a:effectLst/>
        </p:spPr>
      </p:cxnSp>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1" name="Picture 10"/>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3875141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2"/>
          <p:cNvSpPr>
            <a:spLocks noGrp="1"/>
          </p:cNvSpPr>
          <p:nvPr>
            <p:ph idx="1"/>
          </p:nvPr>
        </p:nvSpPr>
        <p:spPr>
          <a:xfrm>
            <a:off x="303213" y="990600"/>
            <a:ext cx="11582400" cy="5410200"/>
          </a:xfrm>
          <a:prstGeom prst="rect">
            <a:avLst/>
          </a:prstGeom>
        </p:spPr>
        <p:txBody>
          <a:bodyPr/>
          <a:lstStyle>
            <a:lvl1pPr marL="233363" indent="-233363">
              <a:spcBef>
                <a:spcPts val="600"/>
              </a:spcBef>
              <a:spcAft>
                <a:spcPts val="600"/>
              </a:spcAft>
              <a:buClr>
                <a:schemeClr val="accent1"/>
              </a:buClr>
              <a:buFont typeface="Wingdings" panose="05000000000000000000" pitchFamily="2" charset="2"/>
              <a:buChar char="v"/>
              <a:defRPr sz="2600">
                <a:solidFill>
                  <a:schemeClr val="tx2"/>
                </a:solidFill>
              </a:defRPr>
            </a:lvl1pPr>
            <a:lvl2pPr marL="742950" indent="-285750">
              <a:spcBef>
                <a:spcPts val="600"/>
              </a:spcBef>
              <a:spcAft>
                <a:spcPts val="600"/>
              </a:spcAft>
              <a:buClr>
                <a:schemeClr val="accent1"/>
              </a:buClr>
              <a:buFont typeface="Wingdings" panose="05000000000000000000" pitchFamily="2" charset="2"/>
              <a:buChar char="Ø"/>
              <a:defRPr sz="2400">
                <a:solidFill>
                  <a:schemeClr val="tx2"/>
                </a:solidFill>
              </a:defRPr>
            </a:lvl2pPr>
            <a:lvl3pPr marL="1143000" indent="-228600">
              <a:spcBef>
                <a:spcPts val="600"/>
              </a:spcBef>
              <a:spcAft>
                <a:spcPts val="600"/>
              </a:spcAft>
              <a:buClr>
                <a:schemeClr val="accent1"/>
              </a:buClr>
              <a:buFont typeface="Wingdings" panose="05000000000000000000" pitchFamily="2" charset="2"/>
              <a:buChar char="Ø"/>
              <a:defRPr sz="2200">
                <a:solidFill>
                  <a:schemeClr val="tx2"/>
                </a:solidFill>
              </a:defRPr>
            </a:lvl3pPr>
            <a:lvl4pPr marL="1600200" indent="-228600">
              <a:spcBef>
                <a:spcPts val="600"/>
              </a:spcBef>
              <a:spcAft>
                <a:spcPts val="600"/>
              </a:spcAft>
              <a:buClr>
                <a:schemeClr val="accent1"/>
              </a:buClr>
              <a:buFont typeface="Wingdings" panose="05000000000000000000" pitchFamily="2" charset="2"/>
              <a:buChar char="Ø"/>
              <a:defRPr sz="2000">
                <a:solidFill>
                  <a:schemeClr val="tx2"/>
                </a:solidFill>
              </a:defRPr>
            </a:lvl4pPr>
            <a:lvl5pPr marL="2057400" indent="-228600">
              <a:spcBef>
                <a:spcPts val="600"/>
              </a:spcBef>
              <a:spcAft>
                <a:spcPts val="600"/>
              </a:spcAft>
              <a:buClr>
                <a:schemeClr val="accent1"/>
              </a:buClr>
              <a:buFont typeface="Wingdings" panose="05000000000000000000" pitchFamily="2" charset="2"/>
              <a:buChar char="Ø"/>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0" name="Picture 9"/>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8368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5"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6"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0029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1161732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no logo - w/pg# &amp; confidential tag">
    <p:spTree>
      <p:nvGrpSpPr>
        <p:cNvPr id="1" name=""/>
        <p:cNvGrpSpPr/>
        <p:nvPr/>
      </p:nvGrpSpPr>
      <p:grpSpPr>
        <a:xfrm>
          <a:off x="0" y="0"/>
          <a:ext cx="0" cy="0"/>
          <a:chOff x="0" y="0"/>
          <a:chExt cx="0" cy="0"/>
        </a:xfrm>
      </p:grpSpPr>
      <p:sp>
        <p:nvSpPr>
          <p:cNvPr id="5"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E37FC1EB-0E93-49BC-A789-875D1A7F4D79}"/>
              </a:ext>
            </a:extLst>
          </p:cNvPr>
          <p:cNvPicPr>
            <a:picLocks noChangeAspect="1"/>
          </p:cNvPicPr>
          <p:nvPr userDrawn="1"/>
        </p:nvPicPr>
        <p:blipFill>
          <a:blip r:embed="rId2"/>
          <a:stretch>
            <a:fillRect/>
          </a:stretch>
        </p:blipFill>
        <p:spPr>
          <a:xfrm>
            <a:off x="10437812" y="6171784"/>
            <a:ext cx="1548420" cy="682406"/>
          </a:xfrm>
          <a:prstGeom prst="rect">
            <a:avLst/>
          </a:prstGeom>
        </p:spPr>
      </p:pic>
    </p:spTree>
    <p:extLst>
      <p:ext uri="{BB962C8B-B14F-4D97-AF65-F5344CB8AC3E}">
        <p14:creationId xmlns:p14="http://schemas.microsoft.com/office/powerpoint/2010/main" val="38488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TL with lt gray box">
    <p:spTree>
      <p:nvGrpSpPr>
        <p:cNvPr id="1" name=""/>
        <p:cNvGrpSpPr/>
        <p:nvPr/>
      </p:nvGrpSpPr>
      <p:grpSpPr>
        <a:xfrm>
          <a:off x="0" y="0"/>
          <a:ext cx="0" cy="0"/>
          <a:chOff x="0" y="0"/>
          <a:chExt cx="0" cy="0"/>
        </a:xfrm>
      </p:grpSpPr>
      <p:sp>
        <p:nvSpPr>
          <p:cNvPr id="3" name="Rectangle 2"/>
          <p:cNvSpPr/>
          <p:nvPr/>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0" name="Rectangle 9"/>
          <p:cNvSpPr/>
          <p:nvPr userDrawn="1"/>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14219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5029200" cy="6382693"/>
          </a:xfrm>
          <a:prstGeom prst="rect">
            <a:avLst/>
          </a:prstGeom>
        </p:spPr>
        <p:txBody>
          <a:bodyPr anchor="ctr"/>
          <a:lstStyle>
            <a:lvl1pPr marL="0" indent="0" algn="ctr">
              <a:buNone/>
              <a:defRPr/>
            </a:lvl1pPr>
          </a:lstStyle>
          <a:p>
            <a:r>
              <a:rPr lang="en-US" dirty="0"/>
              <a:t>This is a picture placeholder</a:t>
            </a:r>
          </a:p>
        </p:txBody>
      </p:sp>
      <p:sp>
        <p:nvSpPr>
          <p:cNvPr id="10" name="Text Placeholder 9"/>
          <p:cNvSpPr>
            <a:spLocks noGrp="1"/>
          </p:cNvSpPr>
          <p:nvPr>
            <p:ph type="body" sz="quarter" idx="12"/>
          </p:nvPr>
        </p:nvSpPr>
        <p:spPr>
          <a:xfrm>
            <a:off x="5775325" y="304800"/>
            <a:ext cx="6111875" cy="724277"/>
          </a:xfrm>
          <a:prstGeom prst="rect">
            <a:avLst/>
          </a:prstGeom>
        </p:spPr>
        <p:txBody>
          <a:bodyPr anchor="t"/>
          <a:lstStyle>
            <a:lvl1pPr marL="0" indent="0" algn="ctr">
              <a:buNone/>
              <a:defRPr sz="3200">
                <a:solidFill>
                  <a:schemeClr val="accent1"/>
                </a:solidFill>
                <a:latin typeface="+mj-lt"/>
              </a:defRPr>
            </a:lvl1pPr>
          </a:lstStyle>
          <a:p>
            <a:pPr lvl="0"/>
            <a:r>
              <a:rPr lang="en-US"/>
              <a:t>Click to edit Master text styles</a:t>
            </a:r>
          </a:p>
        </p:txBody>
      </p:sp>
      <p:sp>
        <p:nvSpPr>
          <p:cNvPr id="12" name="Text Placeholder 11"/>
          <p:cNvSpPr>
            <a:spLocks noGrp="1"/>
          </p:cNvSpPr>
          <p:nvPr>
            <p:ph type="body" sz="quarter" idx="13"/>
          </p:nvPr>
        </p:nvSpPr>
        <p:spPr>
          <a:xfrm>
            <a:off x="5775325" y="1279437"/>
            <a:ext cx="6111874" cy="5103256"/>
          </a:xfrm>
          <a:prstGeom prst="rect">
            <a:avLst/>
          </a:prstGeom>
        </p:spPr>
        <p:txBody>
          <a:bodyPr/>
          <a:lstStyle>
            <a:lvl1pPr marL="233363" indent="-233363">
              <a:spcAft>
                <a:spcPts val="1200"/>
              </a:spcAft>
              <a:buClr>
                <a:srgbClr val="365EBF"/>
              </a:buClr>
              <a:buFont typeface="Wingdings" panose="05000000000000000000" pitchFamily="2" charset="2"/>
              <a:buChar char="v"/>
              <a:defRPr sz="2400">
                <a:solidFill>
                  <a:schemeClr val="tx2"/>
                </a:solidFill>
              </a:defRPr>
            </a:lvl1pPr>
            <a:lvl2pPr marL="742950" indent="-285750">
              <a:spcAft>
                <a:spcPts val="1200"/>
              </a:spcAft>
              <a:buClr>
                <a:schemeClr val="accent1"/>
              </a:buClr>
              <a:buFont typeface="Wingdings" panose="05000000000000000000" pitchFamily="2" charset="2"/>
              <a:buChar char="Ø"/>
              <a:defRPr sz="2000">
                <a:solidFill>
                  <a:schemeClr val="tx2"/>
                </a:solidFill>
              </a:defRPr>
            </a:lvl2pPr>
            <a:lvl3pPr marL="1143000" indent="-228600">
              <a:spcAft>
                <a:spcPts val="1200"/>
              </a:spcAft>
              <a:buClr>
                <a:schemeClr val="accent1"/>
              </a:buClr>
              <a:buFont typeface="Wingdings" panose="05000000000000000000" pitchFamily="2" charset="2"/>
              <a:buChar char="Ø"/>
              <a:defRPr sz="1800">
                <a:solidFill>
                  <a:schemeClr val="tx2"/>
                </a:solidFill>
              </a:defRPr>
            </a:lvl3pPr>
            <a:lvl4pPr marL="1600200" indent="-228600">
              <a:spcAft>
                <a:spcPts val="1200"/>
              </a:spcAft>
              <a:buClr>
                <a:schemeClr val="accent1"/>
              </a:buClr>
              <a:buFont typeface="Wingdings" panose="05000000000000000000" pitchFamily="2" charset="2"/>
              <a:buChar char="Ø"/>
              <a:defRPr sz="1600">
                <a:solidFill>
                  <a:schemeClr val="tx2"/>
                </a:solidFill>
              </a:defRPr>
            </a:lvl4pPr>
            <a:lvl5pPr marL="2057400" indent="-228600">
              <a:spcAft>
                <a:spcPts val="1200"/>
              </a:spcAft>
              <a:buClr>
                <a:schemeClr val="accent1"/>
              </a:buClr>
              <a:buFont typeface="Wingdings" panose="05000000000000000000" pitchFamily="2" charset="2"/>
              <a:buChar char="Ø"/>
              <a:defRPr sz="1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9"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77803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869200"/>
      </p:ext>
    </p:extLst>
  </p:cSld>
  <p:clrMap bg1="lt1" tx1="dk1" bg2="lt2" tx2="dk2" accent1="accent1" accent2="accent2" accent3="accent3" accent4="accent4" accent5="accent5" accent6="accent6" hlink="hlink" folHlink="folHlink"/>
  <p:sldLayoutIdLst>
    <p:sldLayoutId id="2147483811" r:id="rId1"/>
    <p:sldLayoutId id="2147483802" r:id="rId2"/>
    <p:sldLayoutId id="2147483797" r:id="rId3"/>
    <p:sldLayoutId id="2147483795" r:id="rId4"/>
    <p:sldLayoutId id="2147483796" r:id="rId5"/>
    <p:sldLayoutId id="2147483798" r:id="rId6"/>
    <p:sldLayoutId id="2147483799" r:id="rId7"/>
    <p:sldLayoutId id="2147483800" r:id="rId8"/>
    <p:sldLayoutId id="2147483801" r:id="rId9"/>
    <p:sldLayoutId id="2147483803" r:id="rId10"/>
    <p:sldLayoutId id="214748381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13.xml"/><Relationship Id="rId13" Type="http://schemas.openxmlformats.org/officeDocument/2006/relationships/image" Target="../media/image12.png"/><Relationship Id="rId3" Type="http://schemas.openxmlformats.org/officeDocument/2006/relationships/diagramData" Target="../diagrams/data12.xml"/><Relationship Id="rId7" Type="http://schemas.microsoft.com/office/2007/relationships/diagramDrawing" Target="../diagrams/drawing12.xml"/><Relationship Id="rId12" Type="http://schemas.microsoft.com/office/2007/relationships/diagramDrawing" Target="../diagrams/drawing13.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Colors" Target="../diagrams/colors12.xml"/><Relationship Id="rId11" Type="http://schemas.openxmlformats.org/officeDocument/2006/relationships/diagramColors" Target="../diagrams/colors13.xml"/><Relationship Id="rId5" Type="http://schemas.openxmlformats.org/officeDocument/2006/relationships/diagramQuickStyle" Target="../diagrams/quickStyle12.xml"/><Relationship Id="rId10" Type="http://schemas.openxmlformats.org/officeDocument/2006/relationships/diagramQuickStyle" Target="../diagrams/quickStyle13.xml"/><Relationship Id="rId4" Type="http://schemas.openxmlformats.org/officeDocument/2006/relationships/diagramLayout" Target="../diagrams/layout12.xml"/><Relationship Id="rId9" Type="http://schemas.openxmlformats.org/officeDocument/2006/relationships/diagramLayout" Target="../diagrams/layout13.xml"/><Relationship Id="rId1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15.xml"/><Relationship Id="rId13" Type="http://schemas.openxmlformats.org/officeDocument/2006/relationships/image" Target="../media/image14.png"/><Relationship Id="rId3" Type="http://schemas.openxmlformats.org/officeDocument/2006/relationships/diagramData" Target="../diagrams/data14.xml"/><Relationship Id="rId7" Type="http://schemas.microsoft.com/office/2007/relationships/diagramDrawing" Target="../diagrams/drawing14.xml"/><Relationship Id="rId12" Type="http://schemas.microsoft.com/office/2007/relationships/diagramDrawing" Target="../diagrams/drawing15.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14.xml"/><Relationship Id="rId11" Type="http://schemas.openxmlformats.org/officeDocument/2006/relationships/diagramColors" Target="../diagrams/colors15.xml"/><Relationship Id="rId5" Type="http://schemas.openxmlformats.org/officeDocument/2006/relationships/diagramQuickStyle" Target="../diagrams/quickStyle14.xml"/><Relationship Id="rId10" Type="http://schemas.openxmlformats.org/officeDocument/2006/relationships/diagramQuickStyle" Target="../diagrams/quickStyle15.xml"/><Relationship Id="rId4" Type="http://schemas.openxmlformats.org/officeDocument/2006/relationships/diagramLayout" Target="../diagrams/layout14.xml"/><Relationship Id="rId9" Type="http://schemas.openxmlformats.org/officeDocument/2006/relationships/diagramLayout" Target="../diagrams/layout15.xml"/><Relationship Id="rId14" Type="http://schemas.openxmlformats.org/officeDocument/2006/relationships/image" Target="../media/image1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microsoft.com/office/2007/relationships/diagramDrawing" Target="../diagrams/drawing2.xml"/><Relationship Id="rId13" Type="http://schemas.openxmlformats.org/officeDocument/2006/relationships/diagramColors" Target="../diagrams/colors3.xml"/><Relationship Id="rId3" Type="http://schemas.openxmlformats.org/officeDocument/2006/relationships/image" Target="../media/image6.png"/><Relationship Id="rId7" Type="http://schemas.openxmlformats.org/officeDocument/2006/relationships/diagramColors" Target="../diagrams/colors2.xml"/><Relationship Id="rId12" Type="http://schemas.openxmlformats.org/officeDocument/2006/relationships/diagramQuickStyle" Target="../diagrams/quickStyle3.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QuickStyle" Target="../diagrams/quickStyle2.xml"/><Relationship Id="rId11" Type="http://schemas.openxmlformats.org/officeDocument/2006/relationships/diagramLayout" Target="../diagrams/layout3.xml"/><Relationship Id="rId5" Type="http://schemas.openxmlformats.org/officeDocument/2006/relationships/diagramLayout" Target="../diagrams/layout2.xml"/><Relationship Id="rId10" Type="http://schemas.openxmlformats.org/officeDocument/2006/relationships/diagramData" Target="../diagrams/data3.xml"/><Relationship Id="rId4" Type="http://schemas.openxmlformats.org/officeDocument/2006/relationships/diagramData" Target="../diagrams/data2.xml"/><Relationship Id="rId9" Type="http://schemas.openxmlformats.org/officeDocument/2006/relationships/image" Target="../media/image7.emf"/><Relationship Id="rId14" Type="http://schemas.microsoft.com/office/2007/relationships/diagramDrawing" Target="../diagrams/drawing3.xml"/></Relationships>
</file>

<file path=ppt/slides/_rels/slide6.xml.rels><?xml version="1.0" encoding="UTF-8" standalone="yes"?>
<Relationships xmlns="http://schemas.openxmlformats.org/package/2006/relationships"><Relationship Id="rId8" Type="http://schemas.openxmlformats.org/officeDocument/2006/relationships/image" Target="../media/image7.emf"/><Relationship Id="rId13" Type="http://schemas.openxmlformats.org/officeDocument/2006/relationships/diagramColors" Target="../diagrams/colors5.xml"/><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diagramQuickStyle" Target="../diagrams/quickStyle5.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4.xml"/><Relationship Id="rId11" Type="http://schemas.openxmlformats.org/officeDocument/2006/relationships/diagramLayout" Target="../diagrams/layout5.xml"/><Relationship Id="rId5" Type="http://schemas.openxmlformats.org/officeDocument/2006/relationships/diagramQuickStyle" Target="../diagrams/quickStyle4.xml"/><Relationship Id="rId10" Type="http://schemas.openxmlformats.org/officeDocument/2006/relationships/diagramData" Target="../diagrams/data5.xml"/><Relationship Id="rId4" Type="http://schemas.openxmlformats.org/officeDocument/2006/relationships/diagramLayout" Target="../diagrams/layout4.xml"/><Relationship Id="rId9" Type="http://schemas.openxmlformats.org/officeDocument/2006/relationships/image" Target="../media/image8.png"/><Relationship Id="rId14" Type="http://schemas.microsoft.com/office/2007/relationships/diagramDrawing" Target="../diagrams/drawing5.xml"/></Relationships>
</file>

<file path=ppt/slides/_rels/slide7.xml.rels><?xml version="1.0" encoding="UTF-8" standalone="yes"?>
<Relationships xmlns="http://schemas.openxmlformats.org/package/2006/relationships"><Relationship Id="rId8" Type="http://schemas.microsoft.com/office/2007/relationships/diagramDrawing" Target="../diagrams/drawing6.xml"/><Relationship Id="rId13" Type="http://schemas.openxmlformats.org/officeDocument/2006/relationships/diagramColors" Target="../diagrams/colors7.xml"/><Relationship Id="rId3" Type="http://schemas.openxmlformats.org/officeDocument/2006/relationships/image" Target="../media/image9.png"/><Relationship Id="rId7" Type="http://schemas.openxmlformats.org/officeDocument/2006/relationships/diagramColors" Target="../diagrams/colors6.xml"/><Relationship Id="rId12" Type="http://schemas.openxmlformats.org/officeDocument/2006/relationships/diagramQuickStyle" Target="../diagrams/quickStyle7.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QuickStyle" Target="../diagrams/quickStyle6.xml"/><Relationship Id="rId11" Type="http://schemas.openxmlformats.org/officeDocument/2006/relationships/diagramLayout" Target="../diagrams/layout7.xml"/><Relationship Id="rId5" Type="http://schemas.openxmlformats.org/officeDocument/2006/relationships/diagramLayout" Target="../diagrams/layout6.xml"/><Relationship Id="rId10" Type="http://schemas.openxmlformats.org/officeDocument/2006/relationships/diagramData" Target="../diagrams/data7.xml"/><Relationship Id="rId4" Type="http://schemas.openxmlformats.org/officeDocument/2006/relationships/diagramData" Target="../diagrams/data6.xml"/><Relationship Id="rId9" Type="http://schemas.openxmlformats.org/officeDocument/2006/relationships/image" Target="../media/image7.emf"/><Relationship Id="rId14" Type="http://schemas.microsoft.com/office/2007/relationships/diagramDrawing" Target="../diagrams/drawing7.xml"/></Relationships>
</file>

<file path=ppt/slides/_rels/slide8.xml.rels><?xml version="1.0" encoding="UTF-8" standalone="yes"?>
<Relationships xmlns="http://schemas.openxmlformats.org/package/2006/relationships"><Relationship Id="rId8" Type="http://schemas.microsoft.com/office/2007/relationships/diagramDrawing" Target="../diagrams/drawing8.xml"/><Relationship Id="rId13" Type="http://schemas.openxmlformats.org/officeDocument/2006/relationships/diagramColors" Target="../diagrams/colors9.xml"/><Relationship Id="rId3" Type="http://schemas.openxmlformats.org/officeDocument/2006/relationships/image" Target="../media/image10.png"/><Relationship Id="rId7" Type="http://schemas.openxmlformats.org/officeDocument/2006/relationships/diagramColors" Target="../diagrams/colors8.xml"/><Relationship Id="rId12" Type="http://schemas.openxmlformats.org/officeDocument/2006/relationships/diagramQuickStyle" Target="../diagrams/quickStyle9.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QuickStyle" Target="../diagrams/quickStyle8.xml"/><Relationship Id="rId11" Type="http://schemas.openxmlformats.org/officeDocument/2006/relationships/diagramLayout" Target="../diagrams/layout9.xml"/><Relationship Id="rId5" Type="http://schemas.openxmlformats.org/officeDocument/2006/relationships/diagramLayout" Target="../diagrams/layout8.xml"/><Relationship Id="rId10" Type="http://schemas.openxmlformats.org/officeDocument/2006/relationships/diagramData" Target="../diagrams/data9.xml"/><Relationship Id="rId4" Type="http://schemas.openxmlformats.org/officeDocument/2006/relationships/diagramData" Target="../diagrams/data8.xml"/><Relationship Id="rId9" Type="http://schemas.openxmlformats.org/officeDocument/2006/relationships/image" Target="../media/image7.emf"/><Relationship Id="rId14" Type="http://schemas.microsoft.com/office/2007/relationships/diagramDrawing" Target="../diagrams/drawing9.xml"/></Relationships>
</file>

<file path=ppt/slides/_rels/slide9.xml.rels><?xml version="1.0" encoding="UTF-8" standalone="yes"?>
<Relationships xmlns="http://schemas.openxmlformats.org/package/2006/relationships"><Relationship Id="rId8" Type="http://schemas.openxmlformats.org/officeDocument/2006/relationships/image" Target="../media/image7.emf"/><Relationship Id="rId13" Type="http://schemas.microsoft.com/office/2007/relationships/diagramDrawing" Target="../diagrams/drawing11.xml"/><Relationship Id="rId3" Type="http://schemas.openxmlformats.org/officeDocument/2006/relationships/diagramData" Target="../diagrams/data10.xml"/><Relationship Id="rId7" Type="http://schemas.microsoft.com/office/2007/relationships/diagramDrawing" Target="../diagrams/drawing10.xml"/><Relationship Id="rId12" Type="http://schemas.openxmlformats.org/officeDocument/2006/relationships/diagramColors" Target="../diagrams/colors11.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Colors" Target="../diagrams/colors10.xml"/><Relationship Id="rId11" Type="http://schemas.openxmlformats.org/officeDocument/2006/relationships/diagramQuickStyle" Target="../diagrams/quickStyle11.xml"/><Relationship Id="rId5" Type="http://schemas.openxmlformats.org/officeDocument/2006/relationships/diagramQuickStyle" Target="../diagrams/quickStyle10.xml"/><Relationship Id="rId10" Type="http://schemas.openxmlformats.org/officeDocument/2006/relationships/diagramLayout" Target="../diagrams/layout11.xml"/><Relationship Id="rId4" Type="http://schemas.openxmlformats.org/officeDocument/2006/relationships/diagramLayout" Target="../diagrams/layout10.xml"/><Relationship Id="rId9" Type="http://schemas.openxmlformats.org/officeDocument/2006/relationships/diagramData" Target="../diagrams/data11.xml"/><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Learning about Taxes with Intuit ProFile </a:t>
            </a:r>
            <a:br>
              <a:rPr lang="en-US" sz="5400" dirty="0"/>
            </a:br>
            <a:endParaRPr lang="en-CA" sz="5400" dirty="0"/>
          </a:p>
        </p:txBody>
      </p:sp>
    </p:spTree>
    <p:extLst>
      <p:ext uri="{BB962C8B-B14F-4D97-AF65-F5344CB8AC3E}">
        <p14:creationId xmlns:p14="http://schemas.microsoft.com/office/powerpoint/2010/main" val="12764729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explorer</a:t>
            </a:r>
          </a:p>
        </p:txBody>
      </p:sp>
      <p:graphicFrame>
        <p:nvGraphicFramePr>
          <p:cNvPr id="9" name="Diagram 8"/>
          <p:cNvGraphicFramePr/>
          <p:nvPr>
            <p:extLst>
              <p:ext uri="{D42A27DB-BD31-4B8C-83A1-F6EECF244321}">
                <p14:modId xmlns:p14="http://schemas.microsoft.com/office/powerpoint/2010/main" val="1693410107"/>
              </p:ext>
            </p:extLst>
          </p:nvPr>
        </p:nvGraphicFramePr>
        <p:xfrm>
          <a:off x="5635840" y="2319353"/>
          <a:ext cx="3505200" cy="28771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5B2C9ED0-9D5D-4268-B98B-F3A7DA329591}"/>
              </a:ext>
            </a:extLst>
          </p:cNvPr>
          <p:cNvGraphicFramePr/>
          <p:nvPr>
            <p:extLst>
              <p:ext uri="{D42A27DB-BD31-4B8C-83A1-F6EECF244321}">
                <p14:modId xmlns:p14="http://schemas.microsoft.com/office/powerpoint/2010/main" val="1793780499"/>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5" name="Snagit_SNG82B">
            <a:extLst>
              <a:ext uri="{FF2B5EF4-FFF2-40B4-BE49-F238E27FC236}">
                <a16:creationId xmlns:a16="http://schemas.microsoft.com/office/drawing/2014/main" id="{0A7DA06F-10C3-41B9-95C3-532B917B23B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539163" y="3524010"/>
            <a:ext cx="3232102" cy="3027286"/>
          </a:xfrm>
          <a:prstGeom prst="rect">
            <a:avLst/>
          </a:prstGeom>
        </p:spPr>
      </p:pic>
      <p:pic>
        <p:nvPicPr>
          <p:cNvPr id="10" name="Snagit_SNG854">
            <a:extLst>
              <a:ext uri="{FF2B5EF4-FFF2-40B4-BE49-F238E27FC236}">
                <a16:creationId xmlns:a16="http://schemas.microsoft.com/office/drawing/2014/main" id="{C5CE4B1C-6DAC-49FE-BF03-D234A3B19C2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539162" y="1066800"/>
            <a:ext cx="3274478" cy="2536909"/>
          </a:xfrm>
          <a:prstGeom prst="rect">
            <a:avLst/>
          </a:prstGeom>
        </p:spPr>
      </p:pic>
    </p:spTree>
    <p:extLst>
      <p:ext uri="{BB962C8B-B14F-4D97-AF65-F5344CB8AC3E}">
        <p14:creationId xmlns:p14="http://schemas.microsoft.com/office/powerpoint/2010/main" val="18257079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explorer</a:t>
            </a:r>
          </a:p>
        </p:txBody>
      </p:sp>
      <p:graphicFrame>
        <p:nvGraphicFramePr>
          <p:cNvPr id="9" name="Diagram 8"/>
          <p:cNvGraphicFramePr/>
          <p:nvPr>
            <p:extLst>
              <p:ext uri="{D42A27DB-BD31-4B8C-83A1-F6EECF244321}">
                <p14:modId xmlns:p14="http://schemas.microsoft.com/office/powerpoint/2010/main" val="675121651"/>
              </p:ext>
            </p:extLst>
          </p:nvPr>
        </p:nvGraphicFramePr>
        <p:xfrm>
          <a:off x="4418012" y="2428856"/>
          <a:ext cx="5486400" cy="28162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5B2C9ED0-9D5D-4268-B98B-F3A7DA329591}"/>
              </a:ext>
            </a:extLst>
          </p:cNvPr>
          <p:cNvGraphicFramePr/>
          <p:nvPr>
            <p:extLst>
              <p:ext uri="{D42A27DB-BD31-4B8C-83A1-F6EECF244321}">
                <p14:modId xmlns:p14="http://schemas.microsoft.com/office/powerpoint/2010/main" val="1186257914"/>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5" name="Snagit_SNG866">
            <a:extLst>
              <a:ext uri="{FF2B5EF4-FFF2-40B4-BE49-F238E27FC236}">
                <a16:creationId xmlns:a16="http://schemas.microsoft.com/office/drawing/2014/main" id="{9C67D6B0-A02F-4B53-AFBA-6405FABD3BF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446212" y="401333"/>
            <a:ext cx="4209319" cy="3247900"/>
          </a:xfrm>
          <a:prstGeom prst="rect">
            <a:avLst/>
          </a:prstGeom>
        </p:spPr>
      </p:pic>
      <p:pic>
        <p:nvPicPr>
          <p:cNvPr id="10" name="Snagit_SNG874">
            <a:extLst>
              <a:ext uri="{FF2B5EF4-FFF2-40B4-BE49-F238E27FC236}">
                <a16:creationId xmlns:a16="http://schemas.microsoft.com/office/drawing/2014/main" id="{57780C17-C0D1-4669-99B0-577A0EC101E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370971" y="3444146"/>
            <a:ext cx="2127315" cy="3247901"/>
          </a:xfrm>
          <a:prstGeom prst="rect">
            <a:avLst/>
          </a:prstGeom>
        </p:spPr>
      </p:pic>
    </p:spTree>
    <p:extLst>
      <p:ext uri="{BB962C8B-B14F-4D97-AF65-F5344CB8AC3E}">
        <p14:creationId xmlns:p14="http://schemas.microsoft.com/office/powerpoint/2010/main" val="18301031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012" y="2514600"/>
            <a:ext cx="8610600" cy="3349542"/>
          </a:xfrm>
        </p:spPr>
        <p:txBody>
          <a:bodyPr/>
          <a:lstStyle/>
          <a:p>
            <a:r>
              <a:rPr lang="en-US" sz="5400" dirty="0" smtClean="0"/>
              <a:t>Chapter 7</a:t>
            </a:r>
            <a:br>
              <a:rPr lang="en-US" sz="5400" dirty="0" smtClean="0"/>
            </a:br>
            <a:r>
              <a:rPr lang="en-US" sz="5400" dirty="0" smtClean="0"/>
              <a:t>Data-mining with Client Explorer</a:t>
            </a:r>
            <a:endParaRPr lang="en-CA" sz="5400" dirty="0"/>
          </a:p>
        </p:txBody>
      </p:sp>
    </p:spTree>
    <p:extLst>
      <p:ext uri="{BB962C8B-B14F-4D97-AF65-F5344CB8AC3E}">
        <p14:creationId xmlns:p14="http://schemas.microsoft.com/office/powerpoint/2010/main" val="5789648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9009A76-D8CF-4341-B58A-1D68BFAFA36C}"/>
              </a:ext>
            </a:extLst>
          </p:cNvPr>
          <p:cNvGraphicFramePr/>
          <p:nvPr>
            <p:extLst>
              <p:ext uri="{D42A27DB-BD31-4B8C-83A1-F6EECF244321}">
                <p14:modId xmlns:p14="http://schemas.microsoft.com/office/powerpoint/2010/main" val="2141293684"/>
              </p:ext>
            </p:extLst>
          </p:nvPr>
        </p:nvGraphicFramePr>
        <p:xfrm>
          <a:off x="379412" y="2362200"/>
          <a:ext cx="6019800" cy="37466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93557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0188" y="4572000"/>
            <a:ext cx="6627812" cy="758825"/>
          </a:xfrm>
          <a:prstGeom prst="rect">
            <a:avLst/>
          </a:prstGeom>
        </p:spPr>
        <p:txBody>
          <a:bodyPr/>
          <a:lstStyle/>
          <a:p>
            <a:r>
              <a:rPr lang="en-CA" dirty="0"/>
              <a:t>w</a:t>
            </a:r>
            <a:r>
              <a:rPr lang="en-CA" dirty="0" smtClean="0"/>
              <a:t>hat is Client Explorer?</a:t>
            </a:r>
            <a:endParaRPr lang="en-CA" dirty="0"/>
          </a:p>
        </p:txBody>
      </p:sp>
    </p:spTree>
    <p:extLst>
      <p:ext uri="{BB962C8B-B14F-4D97-AF65-F5344CB8AC3E}">
        <p14:creationId xmlns:p14="http://schemas.microsoft.com/office/powerpoint/2010/main" val="6487856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293812" y="1816100"/>
            <a:ext cx="5410200" cy="4051300"/>
          </a:xfrm>
          <a:prstGeom prst="rect">
            <a:avLst/>
          </a:prstGeom>
        </p:spPr>
      </p:pic>
      <p:sp>
        <p:nvSpPr>
          <p:cNvPr id="4"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explorer</a:t>
            </a:r>
          </a:p>
        </p:txBody>
      </p:sp>
      <p:graphicFrame>
        <p:nvGraphicFramePr>
          <p:cNvPr id="9" name="Diagram 8"/>
          <p:cNvGraphicFramePr/>
          <p:nvPr>
            <p:extLst>
              <p:ext uri="{D42A27DB-BD31-4B8C-83A1-F6EECF244321}">
                <p14:modId xmlns:p14="http://schemas.microsoft.com/office/powerpoint/2010/main" val="1753537945"/>
              </p:ext>
            </p:extLst>
          </p:nvPr>
        </p:nvGraphicFramePr>
        <p:xfrm>
          <a:off x="5713412" y="2362200"/>
          <a:ext cx="3891147" cy="26972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37F60383-5896-4D66-894F-84E07887D61E}"/>
              </a:ext>
            </a:extLst>
          </p:cNvPr>
          <p:cNvGraphicFramePr/>
          <p:nvPr>
            <p:extLst>
              <p:ext uri="{D42A27DB-BD31-4B8C-83A1-F6EECF244321}">
                <p14:modId xmlns:p14="http://schemas.microsoft.com/office/powerpoint/2010/main" val="1745210094"/>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6694618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explorer</a:t>
            </a:r>
          </a:p>
        </p:txBody>
      </p:sp>
      <p:graphicFrame>
        <p:nvGraphicFramePr>
          <p:cNvPr id="9" name="Diagram 8"/>
          <p:cNvGraphicFramePr/>
          <p:nvPr>
            <p:extLst/>
          </p:nvPr>
        </p:nvGraphicFramePr>
        <p:xfrm>
          <a:off x="6627812" y="2179537"/>
          <a:ext cx="3738747" cy="2286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pic>
        <p:nvPicPr>
          <p:cNvPr id="12" name="Picture 11"/>
          <p:cNvPicPr>
            <a:picLocks noChangeAspect="1"/>
          </p:cNvPicPr>
          <p:nvPr/>
        </p:nvPicPr>
        <p:blipFill>
          <a:blip r:embed="rId9"/>
          <a:stretch>
            <a:fillRect/>
          </a:stretch>
        </p:blipFill>
        <p:spPr>
          <a:xfrm>
            <a:off x="836612" y="1632812"/>
            <a:ext cx="5492409" cy="3533657"/>
          </a:xfrm>
          <a:prstGeom prst="rect">
            <a:avLst/>
          </a:prstGeom>
        </p:spPr>
      </p:pic>
      <p:graphicFrame>
        <p:nvGraphicFramePr>
          <p:cNvPr id="7" name="Diagram 6">
            <a:extLst>
              <a:ext uri="{FF2B5EF4-FFF2-40B4-BE49-F238E27FC236}">
                <a16:creationId xmlns:a16="http://schemas.microsoft.com/office/drawing/2014/main" id="{37F60383-5896-4D66-894F-84E07887D61E}"/>
              </a:ext>
            </a:extLst>
          </p:cNvPr>
          <p:cNvGraphicFramePr/>
          <p:nvPr>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1162362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684212" y="2192237"/>
            <a:ext cx="6451600" cy="3430149"/>
          </a:xfrm>
          <a:prstGeom prst="rect">
            <a:avLst/>
          </a:prstGeom>
        </p:spPr>
      </p:pic>
      <p:sp>
        <p:nvSpPr>
          <p:cNvPr id="4" name="Title 1"/>
          <p:cNvSpPr txBox="1">
            <a:spLocks/>
          </p:cNvSpPr>
          <p:nvPr/>
        </p:nvSpPr>
        <p:spPr>
          <a:xfrm>
            <a:off x="0" y="6120427"/>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explorer</a:t>
            </a:r>
          </a:p>
        </p:txBody>
      </p:sp>
      <p:graphicFrame>
        <p:nvGraphicFramePr>
          <p:cNvPr id="9" name="Diagram 8"/>
          <p:cNvGraphicFramePr/>
          <p:nvPr>
            <p:extLst>
              <p:ext uri="{D42A27DB-BD31-4B8C-83A1-F6EECF244321}">
                <p14:modId xmlns:p14="http://schemas.microsoft.com/office/powerpoint/2010/main" val="1891430438"/>
              </p:ext>
            </p:extLst>
          </p:nvPr>
        </p:nvGraphicFramePr>
        <p:xfrm>
          <a:off x="6348412" y="2700237"/>
          <a:ext cx="3738747" cy="22860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37F60383-5896-4D66-894F-84E07887D61E}"/>
              </a:ext>
            </a:extLst>
          </p:cNvPr>
          <p:cNvGraphicFramePr/>
          <p:nvPr>
            <p:extLst>
              <p:ext uri="{D42A27DB-BD31-4B8C-83A1-F6EECF244321}">
                <p14:modId xmlns:p14="http://schemas.microsoft.com/office/powerpoint/2010/main" val="832211319"/>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17941538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781166" y="2026312"/>
            <a:ext cx="5540258" cy="4106815"/>
          </a:xfrm>
          <a:prstGeom prst="rect">
            <a:avLst/>
          </a:prstGeom>
        </p:spPr>
      </p:pic>
      <p:sp>
        <p:nvSpPr>
          <p:cNvPr id="4" name="Title 1"/>
          <p:cNvSpPr txBox="1">
            <a:spLocks/>
          </p:cNvSpPr>
          <p:nvPr/>
        </p:nvSpPr>
        <p:spPr>
          <a:xfrm>
            <a:off x="0" y="6120427"/>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explorer</a:t>
            </a:r>
          </a:p>
        </p:txBody>
      </p:sp>
      <p:graphicFrame>
        <p:nvGraphicFramePr>
          <p:cNvPr id="9" name="Diagram 8"/>
          <p:cNvGraphicFramePr/>
          <p:nvPr>
            <p:extLst>
              <p:ext uri="{D42A27DB-BD31-4B8C-83A1-F6EECF244321}">
                <p14:modId xmlns:p14="http://schemas.microsoft.com/office/powerpoint/2010/main" val="506138930"/>
              </p:ext>
            </p:extLst>
          </p:nvPr>
        </p:nvGraphicFramePr>
        <p:xfrm>
          <a:off x="6831012" y="2321240"/>
          <a:ext cx="3556000" cy="32433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37F60383-5896-4D66-894F-84E07887D61E}"/>
              </a:ext>
            </a:extLst>
          </p:cNvPr>
          <p:cNvGraphicFramePr/>
          <p:nvPr>
            <p:extLst>
              <p:ext uri="{D42A27DB-BD31-4B8C-83A1-F6EECF244321}">
                <p14:modId xmlns:p14="http://schemas.microsoft.com/office/powerpoint/2010/main" val="329627043"/>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9982269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6133127"/>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client explorer</a:t>
            </a:r>
          </a:p>
        </p:txBody>
      </p:sp>
      <p:graphicFrame>
        <p:nvGraphicFramePr>
          <p:cNvPr id="9" name="Diagram 8"/>
          <p:cNvGraphicFramePr/>
          <p:nvPr>
            <p:extLst>
              <p:ext uri="{D42A27DB-BD31-4B8C-83A1-F6EECF244321}">
                <p14:modId xmlns:p14="http://schemas.microsoft.com/office/powerpoint/2010/main" val="1517727959"/>
              </p:ext>
            </p:extLst>
          </p:nvPr>
        </p:nvGraphicFramePr>
        <p:xfrm>
          <a:off x="7599804" y="2592273"/>
          <a:ext cx="2895599" cy="19812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37F60383-5896-4D66-894F-84E07887D61E}"/>
              </a:ext>
            </a:extLst>
          </p:cNvPr>
          <p:cNvGraphicFramePr/>
          <p:nvPr>
            <p:extLst>
              <p:ext uri="{D42A27DB-BD31-4B8C-83A1-F6EECF244321}">
                <p14:modId xmlns:p14="http://schemas.microsoft.com/office/powerpoint/2010/main" val="732172185"/>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5" name="Picture 4"/>
          <p:cNvPicPr>
            <a:picLocks noChangeAspect="1"/>
          </p:cNvPicPr>
          <p:nvPr/>
        </p:nvPicPr>
        <p:blipFill>
          <a:blip r:embed="rId14"/>
          <a:stretch>
            <a:fillRect/>
          </a:stretch>
        </p:blipFill>
        <p:spPr>
          <a:xfrm>
            <a:off x="455612" y="2050876"/>
            <a:ext cx="6851650" cy="3037919"/>
          </a:xfrm>
          <a:prstGeom prst="rect">
            <a:avLst/>
          </a:prstGeom>
        </p:spPr>
      </p:pic>
    </p:spTree>
    <p:extLst>
      <p:ext uri="{BB962C8B-B14F-4D97-AF65-F5344CB8AC3E}">
        <p14:creationId xmlns:p14="http://schemas.microsoft.com/office/powerpoint/2010/main" val="2755951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Blue Intuit Logo">
  <a:themeElements>
    <a:clrScheme name="Intuit Brand Colors 2014">
      <a:dk1>
        <a:sysClr val="windowText" lastClr="000000"/>
      </a:dk1>
      <a:lt1>
        <a:sysClr val="window" lastClr="FFFFFF"/>
      </a:lt1>
      <a:dk2>
        <a:srgbClr val="3F3F3F"/>
      </a:dk2>
      <a:lt2>
        <a:srgbClr val="2CA01C"/>
      </a:lt2>
      <a:accent1>
        <a:srgbClr val="365EBF"/>
      </a:accent1>
      <a:accent2>
        <a:srgbClr val="D52B1E"/>
      </a:accent2>
      <a:accent3>
        <a:srgbClr val="505050"/>
      </a:accent3>
      <a:accent4>
        <a:srgbClr val="0098CD"/>
      </a:accent4>
      <a:accent5>
        <a:srgbClr val="E77700"/>
      </a:accent5>
      <a:accent6>
        <a:srgbClr val="FEC82A"/>
      </a:accent6>
      <a:hlink>
        <a:srgbClr val="365EBF"/>
      </a:hlink>
      <a:folHlink>
        <a:srgbClr val="193048"/>
      </a:folHlink>
    </a:clrScheme>
    <a:fontScheme name="Intuit Standard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01 Intuit Template - White Background - Widescreen [Read-Only]" id="{F225971D-B64B-41D1-A728-2636CCD64A25}" vid="{97301D22-312C-4BB4-A39D-16453ABE4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 Intuit Template - White Background - Widescreen July 2014</Template>
  <TotalTime>37413</TotalTime>
  <Words>906</Words>
  <Application>Microsoft Office PowerPoint</Application>
  <PresentationFormat>Custom</PresentationFormat>
  <Paragraphs>146</Paragraphs>
  <Slides>11</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0" baseType="lpstr">
      <vt:lpstr>Arial</vt:lpstr>
      <vt:lpstr>Avenir Next Demi Bold</vt:lpstr>
      <vt:lpstr>Avenir Next Medium</vt:lpstr>
      <vt:lpstr>Avenir Next Regular</vt:lpstr>
      <vt:lpstr>Calibri</vt:lpstr>
      <vt:lpstr>Times</vt:lpstr>
      <vt:lpstr>Wingdings</vt:lpstr>
      <vt:lpstr>1_White Template Blue Intuit Logo</vt:lpstr>
      <vt:lpstr>think-cell Slide</vt:lpstr>
      <vt:lpstr>Learning about Taxes with Intuit ProFile  </vt:lpstr>
      <vt:lpstr>Chapter 7 Data-mining with Client Explorer</vt:lpstr>
      <vt:lpstr>PowerPoint Presentation</vt:lpstr>
      <vt:lpstr>what is Client Explorer?</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M Offer Template</dc:title>
  <dc:creator>Magner, Barb</dc:creator>
  <cp:lastModifiedBy>Videc, Marisa</cp:lastModifiedBy>
  <cp:revision>617</cp:revision>
  <cp:lastPrinted>2017-01-10T23:11:41Z</cp:lastPrinted>
  <dcterms:created xsi:type="dcterms:W3CDTF">2014-09-11T15:23:46Z</dcterms:created>
  <dcterms:modified xsi:type="dcterms:W3CDTF">2018-01-04T18:01:05Z</dcterms:modified>
</cp:coreProperties>
</file>